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5"/>
  </p:notesMasterIdLst>
  <p:handoutMasterIdLst>
    <p:handoutMasterId r:id="rId16"/>
  </p:handoutMasterIdLst>
  <p:sldIdLst>
    <p:sldId id="256" r:id="rId5"/>
    <p:sldId id="260" r:id="rId6"/>
    <p:sldId id="262" r:id="rId7"/>
    <p:sldId id="261" r:id="rId8"/>
    <p:sldId id="263" r:id="rId9"/>
    <p:sldId id="264" r:id="rId10"/>
    <p:sldId id="279" r:id="rId11"/>
    <p:sldId id="265" r:id="rId12"/>
    <p:sldId id="266" r:id="rId13"/>
    <p:sldId id="278" r:id="rId14"/>
  </p:sldIdLst>
  <p:sldSz cx="12190413" cy="6859588"/>
  <p:notesSz cx="6807200" cy="9939338"/>
  <p:custDataLst>
    <p:tags r:id="rId17"/>
  </p:custDataLst>
  <p:defaultTextStyle>
    <a:defPPr>
      <a:defRPr lang="en-US"/>
    </a:defPPr>
    <a:lvl1pPr marL="0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9516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39033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58549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7806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97582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AC2276-1473-44AE-B952-E5E9854B0E27}">
          <p14:sldIdLst>
            <p14:sldId id="256"/>
            <p14:sldId id="260"/>
            <p14:sldId id="262"/>
            <p14:sldId id="261"/>
            <p14:sldId id="263"/>
            <p14:sldId id="264"/>
            <p14:sldId id="279"/>
            <p14:sldId id="265"/>
            <p14:sldId id="266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3978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160">
          <p15:clr>
            <a:srgbClr val="A4A3A4"/>
          </p15:clr>
        </p15:guide>
        <p15:guide id="6" orient="horz" pos="3703">
          <p15:clr>
            <a:srgbClr val="A4A3A4"/>
          </p15:clr>
        </p15:guide>
        <p15:guide id="7" orient="horz" pos="3749">
          <p15:clr>
            <a:srgbClr val="A4A3A4"/>
          </p15:clr>
        </p15:guide>
        <p15:guide id="8" pos="3840">
          <p15:clr>
            <a:srgbClr val="A4A3A4"/>
          </p15:clr>
        </p15:guide>
        <p15:guide id="9" pos="420">
          <p15:clr>
            <a:srgbClr val="A4A3A4"/>
          </p15:clr>
        </p15:guide>
        <p15:guide id="10" pos="7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1"/>
    <a:srgbClr val="FFFFFF"/>
    <a:srgbClr val="003468"/>
    <a:srgbClr val="4D4D4D"/>
    <a:srgbClr val="F89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2" autoAdjust="0"/>
    <p:restoredTop sz="93791" autoAdjust="0"/>
  </p:normalViewPr>
  <p:slideViewPr>
    <p:cSldViewPr snapToGrid="0">
      <p:cViewPr varScale="1">
        <p:scale>
          <a:sx n="152" d="100"/>
          <a:sy n="152" d="100"/>
        </p:scale>
        <p:origin x="1160" y="168"/>
      </p:cViewPr>
      <p:guideLst>
        <p:guide orient="horz" pos="2115"/>
        <p:guide orient="horz" pos="709"/>
        <p:guide orient="horz" pos="3978"/>
        <p:guide orient="horz" pos="754"/>
        <p:guide orient="horz" pos="160"/>
        <p:guide orient="horz" pos="3703"/>
        <p:guide orient="horz" pos="3749"/>
        <p:guide pos="3840"/>
        <p:guide pos="420"/>
        <p:guide pos="72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4644" y="13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2865F-B372-43D2-8255-7FA4007EBB59}" type="datetimeFigureOut">
              <a:rPr lang="en-AU" smtClean="0"/>
              <a:t>28/4/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F6DAE-8937-4BD8-96F6-7DF4B65EF41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1732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D938-244D-4739-949C-2C3FCC68DC46}" type="datetimeFigureOut">
              <a:rPr lang="en-AU" smtClean="0"/>
              <a:t>28/4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1987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C0CB5-59E8-4F90-B170-7BD09AD757B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06720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1pPr>
    <a:lvl2pPr marL="519516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2pPr>
    <a:lvl3pPr marL="1039033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3pPr>
    <a:lvl4pPr marL="1558549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4pPr>
    <a:lvl5pPr marL="2078065" algn="l" defTabSz="1039033" rtl="0" eaLnBrk="1" latinLnBrk="0" hangingPunct="1">
      <a:defRPr sz="1400" kern="1200">
        <a:solidFill>
          <a:schemeClr val="tx1"/>
        </a:solidFill>
        <a:latin typeface="Segoe UI" panose="020B0502040204020203" pitchFamily="34" charset="0"/>
        <a:ea typeface="Segoe UI" panose="020B0502040204020203" pitchFamily="34" charset="0"/>
        <a:cs typeface="Segoe UI" panose="020B0502040204020203" pitchFamily="34" charset="0"/>
      </a:defRPr>
    </a:lvl5pPr>
    <a:lvl6pPr marL="2597582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17098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36615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56131" algn="l" defTabSz="103903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0479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C0CB5-59E8-4F90-B170-7BD09AD757BA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8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66000" y="4653930"/>
            <a:ext cx="8825959" cy="432048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</a:lstStyle>
          <a:p>
            <a:pPr lvl="0"/>
            <a:r>
              <a:rPr lang="en-AU" noProof="0" dirty="0"/>
              <a:t>Speaker | Dat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66000" y="3812875"/>
            <a:ext cx="8817332" cy="83482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5200"/>
              </a:lnSpc>
              <a:defRPr sz="4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878066"/>
            <a:ext cx="12190413" cy="981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3AB26-6606-48CF-93D4-3185E26AB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0" r="17235"/>
          <a:stretch/>
        </p:blipFill>
        <p:spPr>
          <a:xfrm>
            <a:off x="3866409" y="794"/>
            <a:ext cx="8324797" cy="478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84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6455246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5040560" cy="3799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6373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quarter" idx="21"/>
          </p:nvPr>
        </p:nvSpPr>
        <p:spPr>
          <a:xfrm>
            <a:off x="66600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22"/>
          </p:nvPr>
        </p:nvSpPr>
        <p:spPr>
          <a:xfrm>
            <a:off x="441028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3"/>
          </p:nvPr>
        </p:nvSpPr>
        <p:spPr>
          <a:xfrm>
            <a:off x="8154560" y="1774800"/>
            <a:ext cx="3368436" cy="38213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0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192191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5894"/>
            <a:ext cx="3528392" cy="43999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4536908" y="1775894"/>
            <a:ext cx="6981149" cy="37909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4542738" y="5705958"/>
            <a:ext cx="6971399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2772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10797573" cy="19402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4"/>
          </p:nvPr>
        </p:nvSpPr>
        <p:spPr>
          <a:xfrm>
            <a:off x="666000" y="4077359"/>
            <a:ext cx="10797573" cy="20122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81010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203565-448E-46C8-AF80-7064BB418577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89852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22701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922365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3250853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910734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3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6239222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863062" y="2709714"/>
            <a:ext cx="1357313" cy="784225"/>
          </a:xfrm>
          <a:prstGeom prst="rect">
            <a:avLst/>
          </a:prstGeom>
        </p:spPr>
        <p:txBody>
          <a:bodyPr/>
          <a:lstStyle>
            <a:lvl1pPr algn="ctr">
              <a:defRPr sz="4400">
                <a:solidFill>
                  <a:schemeClr val="accent4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XX%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9191550" y="3501802"/>
            <a:ext cx="2700337" cy="1016000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168329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A29569E5-547F-410D-94F7-0598DF5FC1F0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/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/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/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2842458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761316E-8D59-4163-850F-0F864577A6DE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1" name="Picture Placeholder 20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821531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1</a:t>
            </a:r>
          </a:p>
        </p:txBody>
      </p:sp>
      <p:sp>
        <p:nvSpPr>
          <p:cNvPr id="23" name="Picture Placeholder 20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4485455" y="2677791"/>
            <a:ext cx="540000" cy="540000"/>
          </a:xfrm>
          <a:prstGeom prst="rect">
            <a:avLst/>
          </a:prstGeom>
        </p:spPr>
        <p:txBody>
          <a:bodyPr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2</a:t>
            </a:r>
          </a:p>
          <a:p>
            <a:endParaRPr lang="en-AU" noProof="0" dirty="0"/>
          </a:p>
        </p:txBody>
      </p:sp>
      <p:sp>
        <p:nvSpPr>
          <p:cNvPr id="25" name="Picture Placeholder 20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164956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3</a:t>
            </a:r>
          </a:p>
        </p:txBody>
      </p:sp>
      <p:sp>
        <p:nvSpPr>
          <p:cNvPr id="27" name="Picture Placeholder 2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829252" y="2677791"/>
            <a:ext cx="540000" cy="540000"/>
          </a:xfrm>
          <a:prstGeom prst="rect">
            <a:avLst/>
          </a:prstGeom>
        </p:spPr>
        <p:txBody>
          <a:bodyPr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AU" noProof="0" dirty="0"/>
              <a:t>Insert Icon Colour C5</a:t>
            </a:r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3703737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6383238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6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9047534" y="3717826"/>
            <a:ext cx="2103437" cy="708025"/>
          </a:xfrm>
          <a:prstGeom prst="rect">
            <a:avLst/>
          </a:prstGeom>
        </p:spPr>
        <p:txBody>
          <a:bodyPr/>
          <a:lstStyle>
            <a:lvl1pPr algn="ctr">
              <a:defRPr sz="15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036884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31541C-9C9B-468A-BD2B-4312256415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705583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9433C7-5558-4037-8D08-E7DD4DED0623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29" name="Picture 28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3" name="Text Placehold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1039813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4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5071518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9103222" y="2855344"/>
            <a:ext cx="2103437" cy="1570508"/>
          </a:xfrm>
          <a:prstGeom prst="rect">
            <a:avLst/>
          </a:prstGeom>
        </p:spPr>
        <p:txBody>
          <a:bodyPr/>
          <a:lstStyle>
            <a:lvl1pPr algn="ctr"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4420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736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-814" y="1685925"/>
            <a:ext cx="12190414" cy="2057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Picture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109593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5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34864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6" name="Picture Placeholder 3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861377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27" name="Picture Placeholder 3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2390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/>
              <a:t>Insert Icon</a:t>
            </a:r>
          </a:p>
        </p:txBody>
      </p:sp>
      <p:sp>
        <p:nvSpPr>
          <p:cNvPr id="28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613905" y="2122983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bg2"/>
                </a:solidFill>
              </a:defRPr>
            </a:lvl1pPr>
          </a:lstStyle>
          <a:p>
            <a:r>
              <a:rPr lang="en-AU" noProof="0" dirty="0"/>
              <a:t>Insert Icon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26388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21" hasCustomPrompt="1"/>
          </p:nvPr>
        </p:nvSpPr>
        <p:spPr>
          <a:xfrm>
            <a:off x="5013722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2" hasCustomPrompt="1"/>
          </p:nvPr>
        </p:nvSpPr>
        <p:spPr>
          <a:xfrm>
            <a:off x="73913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9766250" y="2843064"/>
            <a:ext cx="2233612" cy="400050"/>
          </a:xfrm>
          <a:prstGeom prst="rect">
            <a:avLst/>
          </a:prstGeom>
        </p:spPr>
        <p:txBody>
          <a:bodyPr/>
          <a:lstStyle>
            <a:lvl1pPr algn="ctr">
              <a:defRPr sz="1500" b="0">
                <a:solidFill>
                  <a:schemeClr val="bg2"/>
                </a:soli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WORD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23609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62E7D2-AFE7-4016-9E8D-6A31337D1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63966" b="2498"/>
          <a:stretch/>
        </p:blipFill>
        <p:spPr>
          <a:xfrm>
            <a:off x="0" y="3575447"/>
            <a:ext cx="12192671" cy="230182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17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6000" y="4383552"/>
            <a:ext cx="6824629" cy="720080"/>
          </a:xfrm>
          <a:prstGeom prst="rect">
            <a:avLst/>
          </a:prstGeom>
        </p:spPr>
        <p:txBody>
          <a:bodyPr anchor="ctr"/>
          <a:lstStyle>
            <a:lvl1pPr>
              <a:defRPr sz="3800">
                <a:solidFill>
                  <a:schemeClr val="bg1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Section break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C68DC2-D5FD-4D50-B436-C8EE929912B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alphaModFix amt="67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24" r="45018" b="49528"/>
          <a:stretch/>
        </p:blipFill>
        <p:spPr bwMode="auto">
          <a:xfrm>
            <a:off x="6747900" y="3575447"/>
            <a:ext cx="5444772" cy="2301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5391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rection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3"/>
          <p:cNvSpPr>
            <a:spLocks/>
          </p:cNvSpPr>
          <p:nvPr userDrawn="1"/>
        </p:nvSpPr>
        <p:spPr bwMode="auto">
          <a:xfrm>
            <a:off x="2556535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63"/>
          <p:cNvSpPr>
            <a:spLocks/>
          </p:cNvSpPr>
          <p:nvPr userDrawn="1"/>
        </p:nvSpPr>
        <p:spPr bwMode="auto">
          <a:xfrm>
            <a:off x="5766271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7" name="Freeform 63"/>
          <p:cNvSpPr>
            <a:spLocks/>
          </p:cNvSpPr>
          <p:nvPr userDrawn="1"/>
        </p:nvSpPr>
        <p:spPr bwMode="auto">
          <a:xfrm>
            <a:off x="8976008" y="2005442"/>
            <a:ext cx="657870" cy="840030"/>
          </a:xfrm>
          <a:custGeom>
            <a:avLst/>
            <a:gdLst>
              <a:gd name="T0" fmla="*/ 0 w 1571"/>
              <a:gd name="T1" fmla="*/ 0 h 2006"/>
              <a:gd name="T2" fmla="*/ 1004 w 1571"/>
              <a:gd name="T3" fmla="*/ 1002 h 2006"/>
              <a:gd name="T4" fmla="*/ 0 w 1571"/>
              <a:gd name="T5" fmla="*/ 2006 h 2006"/>
              <a:gd name="T6" fmla="*/ 567 w 1571"/>
              <a:gd name="T7" fmla="*/ 2006 h 2006"/>
              <a:gd name="T8" fmla="*/ 1571 w 1571"/>
              <a:gd name="T9" fmla="*/ 1002 h 2006"/>
              <a:gd name="T10" fmla="*/ 567 w 1571"/>
              <a:gd name="T11" fmla="*/ 0 h 2006"/>
              <a:gd name="T12" fmla="*/ 0 w 1571"/>
              <a:gd name="T13" fmla="*/ 0 h 20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71" h="2006">
                <a:moveTo>
                  <a:pt x="0" y="0"/>
                </a:moveTo>
                <a:lnTo>
                  <a:pt x="1004" y="1002"/>
                </a:lnTo>
                <a:lnTo>
                  <a:pt x="0" y="2006"/>
                </a:lnTo>
                <a:lnTo>
                  <a:pt x="567" y="2006"/>
                </a:lnTo>
                <a:lnTo>
                  <a:pt x="1571" y="1002"/>
                </a:lnTo>
                <a:lnTo>
                  <a:pt x="56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4" name="Picture Placeholder 3"/>
          <p:cNvSpPr>
            <a:spLocks noGrp="1"/>
          </p:cNvSpPr>
          <p:nvPr userDrawn="1">
            <p:ph type="pic" sz="quarter" idx="10"/>
          </p:nvPr>
        </p:nvSpPr>
        <p:spPr>
          <a:xfrm>
            <a:off x="0" y="3747319"/>
            <a:ext cx="12190413" cy="249078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AU" noProof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34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61938" y="1917626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02918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6671270" y="1943959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9839622" y="1917457"/>
            <a:ext cx="1944687" cy="10160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Three </a:t>
            </a:r>
          </a:p>
          <a:p>
            <a:pPr lvl="0"/>
            <a:r>
              <a:rPr lang="en-AU" noProof="0" dirty="0"/>
              <a:t>Lines</a:t>
            </a:r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1767355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7586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153003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774299"/>
            <a:ext cx="10368386" cy="1439391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3" name="Oval 22"/>
          <p:cNvSpPr>
            <a:spLocks noChangeAspect="1"/>
          </p:cNvSpPr>
          <p:nvPr userDrawn="1"/>
        </p:nvSpPr>
        <p:spPr>
          <a:xfrm>
            <a:off x="547590" y="2133281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6" name="Oval 25"/>
          <p:cNvSpPr>
            <a:spLocks noChangeAspect="1"/>
          </p:cNvSpPr>
          <p:nvPr userDrawn="1"/>
        </p:nvSpPr>
        <p:spPr>
          <a:xfrm>
            <a:off x="547590" y="3728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7" name="Oval 26"/>
          <p:cNvSpPr>
            <a:spLocks noChangeAspect="1"/>
          </p:cNvSpPr>
          <p:nvPr userDrawn="1"/>
        </p:nvSpPr>
        <p:spPr>
          <a:xfrm>
            <a:off x="547590" y="5349994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282054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555312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15423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36325" y="4114800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09728"/>
            <a:ext cx="694606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6" name="Oval 5"/>
          <p:cNvSpPr>
            <a:spLocks noChangeAspect="1"/>
          </p:cNvSpPr>
          <p:nvPr userDrawn="1"/>
        </p:nvSpPr>
        <p:spPr>
          <a:xfrm>
            <a:off x="547590" y="1933256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/>
          <p:cNvSpPr>
            <a:spLocks noChangeAspect="1"/>
          </p:cNvSpPr>
          <p:nvPr userDrawn="1"/>
        </p:nvSpPr>
        <p:spPr>
          <a:xfrm>
            <a:off x="547590" y="31571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5" name="Oval 24"/>
          <p:cNvSpPr>
            <a:spLocks noChangeAspect="1"/>
          </p:cNvSpPr>
          <p:nvPr userDrawn="1"/>
        </p:nvSpPr>
        <p:spPr>
          <a:xfrm>
            <a:off x="547590" y="5778619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36325" y="5396061"/>
            <a:ext cx="10368386" cy="1057275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5" name="Oval 14"/>
          <p:cNvSpPr>
            <a:spLocks noChangeAspect="1"/>
          </p:cNvSpPr>
          <p:nvPr userDrawn="1"/>
        </p:nvSpPr>
        <p:spPr>
          <a:xfrm>
            <a:off x="547590" y="4490698"/>
            <a:ext cx="288000" cy="288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19258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F870EE6-BD35-46E8-87A1-FFC8172A93E4}"/>
              </a:ext>
            </a:extLst>
          </p:cNvPr>
          <p:cNvSpPr/>
          <p:nvPr userDrawn="1"/>
        </p:nvSpPr>
        <p:spPr>
          <a:xfrm>
            <a:off x="0" y="1703190"/>
            <a:ext cx="12193790" cy="3933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792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2328883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3246677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4164471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1B39C7-0406-473D-B359-AC80E9398756}"/>
              </a:ext>
            </a:extLst>
          </p:cNvPr>
          <p:cNvSpPr/>
          <p:nvPr userDrawn="1"/>
        </p:nvSpPr>
        <p:spPr>
          <a:xfrm>
            <a:off x="531591" y="1703190"/>
            <a:ext cx="36000" cy="39348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FB2F01D-560E-4C89-B784-1DE460665D9D}"/>
              </a:ext>
            </a:extLst>
          </p:cNvPr>
          <p:cNvSpPr/>
          <p:nvPr userDrawn="1"/>
        </p:nvSpPr>
        <p:spPr>
          <a:xfrm>
            <a:off x="435291" y="2572642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C359FF5-1585-46DF-88FD-5AA9A4E4DEF6}"/>
              </a:ext>
            </a:extLst>
          </p:cNvPr>
          <p:cNvSpPr/>
          <p:nvPr userDrawn="1"/>
        </p:nvSpPr>
        <p:spPr>
          <a:xfrm>
            <a:off x="435291" y="3493304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8E87A78-72B4-4B9E-8998-C6516A8BC5E9}"/>
              </a:ext>
            </a:extLst>
          </p:cNvPr>
          <p:cNvSpPr/>
          <p:nvPr userDrawn="1"/>
        </p:nvSpPr>
        <p:spPr>
          <a:xfrm>
            <a:off x="435291" y="4411098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33815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dea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3ADC0D2-D787-4C8B-993E-9716CE0E2979}"/>
              </a:ext>
            </a:extLst>
          </p:cNvPr>
          <p:cNvSpPr/>
          <p:nvPr userDrawn="1"/>
        </p:nvSpPr>
        <p:spPr>
          <a:xfrm>
            <a:off x="0" y="1703189"/>
            <a:ext cx="12193790" cy="40928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82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1126703" y="1933694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126655" y="2898132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1126800" y="3872095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1126800" y="673547"/>
            <a:ext cx="1037221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531591" y="1703190"/>
            <a:ext cx="36000" cy="4092871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54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7" name="Oval 6"/>
          <p:cNvSpPr/>
          <p:nvPr userDrawn="1"/>
        </p:nvSpPr>
        <p:spPr>
          <a:xfrm>
            <a:off x="435291" y="2176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Oval 15"/>
          <p:cNvSpPr/>
          <p:nvPr userDrawn="1"/>
        </p:nvSpPr>
        <p:spPr>
          <a:xfrm>
            <a:off x="435291" y="311829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7" name="Oval 16"/>
          <p:cNvSpPr/>
          <p:nvPr userDrawn="1"/>
        </p:nvSpPr>
        <p:spPr>
          <a:xfrm>
            <a:off x="435291" y="4081561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1126800" y="4865108"/>
            <a:ext cx="10368386" cy="721854"/>
          </a:xfrm>
          <a:prstGeom prst="rect">
            <a:avLst/>
          </a:prstGeom>
          <a:noFill/>
        </p:spPr>
        <p:txBody>
          <a:bodyPr lIns="252000" tIns="180000" rIns="252000" bIns="180000" anchor="ctr"/>
          <a:lstStyle>
            <a:lvl1pPr>
              <a:defRPr sz="18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35291" y="5081686"/>
            <a:ext cx="228600" cy="22860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77505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1124744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118377" y="3285778"/>
            <a:ext cx="6801364" cy="2519485"/>
          </a:xfrm>
          <a:prstGeom prst="rect">
            <a:avLst/>
          </a:prstGeom>
          <a:solidFill>
            <a:schemeClr val="accent5"/>
          </a:solidFill>
        </p:spPr>
        <p:txBody>
          <a:bodyPr lIns="144000" tIns="36000" rIns="144000" bIns="144000"/>
          <a:lstStyle>
            <a:lvl1pPr>
              <a:spcBef>
                <a:spcPts val="1200"/>
              </a:spcBef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17975" y="1485900"/>
            <a:ext cx="6802438" cy="165576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26654" y="698582"/>
            <a:ext cx="2195992" cy="2628000"/>
          </a:xfrm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spcBef>
                <a:spcPts val="0"/>
              </a:spcBef>
              <a:defRPr sz="3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AU" noProof="0" dirty="0"/>
              <a:t>Title (change icon accordingly)</a:t>
            </a:r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78582" y="693489"/>
            <a:ext cx="538302" cy="54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AU" noProof="0" dirty="0"/>
              <a:t>Insert Icon (white)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484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title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600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118377" y="2853730"/>
            <a:ext cx="680136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730862" y="1341562"/>
            <a:ext cx="2195992" cy="1728192"/>
          </a:xfrm>
          <a:prstGeom prst="rect">
            <a:avLst/>
          </a:prstGeom>
        </p:spPr>
        <p:txBody>
          <a:bodyPr/>
          <a:lstStyle>
            <a:lvl1pPr algn="ctr">
              <a:lnSpc>
                <a:spcPts val="3500"/>
              </a:lnSpc>
              <a:spcBef>
                <a:spcPts val="0"/>
              </a:spcBef>
              <a:defRPr sz="3600" baseline="0">
                <a:solidFill>
                  <a:schemeClr val="accent2"/>
                </a:solidFill>
                <a:latin typeface="Segoe UI Semibold" panose="020B0702040204020203" pitchFamily="34" charset="0"/>
              </a:defRPr>
            </a:lvl1pPr>
          </a:lstStyle>
          <a:p>
            <a:pPr lvl="0"/>
            <a:r>
              <a:rPr lang="en-AU" noProof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117974" y="1413570"/>
            <a:ext cx="897111" cy="863600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3600" b="1"/>
            </a:lvl1pPr>
          </a:lstStyle>
          <a:p>
            <a:pPr lvl="0"/>
            <a:r>
              <a:rPr lang="en-AU" noProof="0" dirty="0"/>
              <a:t>1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5087713" y="1485429"/>
            <a:ext cx="5688013" cy="1224409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86350" y="2997200"/>
            <a:ext cx="5689600" cy="316865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824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599262" y="0"/>
            <a:ext cx="4968552" cy="6857999"/>
          </a:xfrm>
          <a:prstGeom prst="rect">
            <a:avLst/>
          </a:prstGeom>
          <a:solidFill>
            <a:srgbClr val="FFFF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743700" y="621482"/>
            <a:ext cx="4679950" cy="554436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1200"/>
              </a:spcBef>
              <a:spcAft>
                <a:spcPts val="0"/>
              </a:spcAft>
              <a:defRPr sz="2500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5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20" name="Picture 19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21C140-B28F-4D5A-978A-F77A14E8C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639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with call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0" y="1387674"/>
            <a:ext cx="5790230" cy="2736304"/>
          </a:xfrm>
          <a:prstGeom prst="rect">
            <a:avLst/>
          </a:prstGeom>
          <a:solidFill>
            <a:schemeClr val="accent5"/>
          </a:solidFill>
        </p:spPr>
        <p:txBody>
          <a:bodyPr lIns="540000" tIns="396000" rIns="540000" bIns="396000" anchor="ctr"/>
          <a:lstStyle>
            <a:lvl1pPr marL="0" marR="0" indent="0" algn="ctr" defTabSz="1039033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lick to edit Master text styles</a:t>
            </a:r>
            <a:br>
              <a:rPr lang="en-AU" noProof="0" dirty="0"/>
            </a:br>
            <a:r>
              <a:rPr lang="en-AU" noProof="0" dirty="0"/>
              <a:t>(to change image choose format background and insert a picture from file)</a:t>
            </a: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46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fac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</p:spTree>
    <p:extLst>
      <p:ext uri="{BB962C8B-B14F-4D97-AF65-F5344CB8AC3E}">
        <p14:creationId xmlns:p14="http://schemas.microsoft.com/office/powerpoint/2010/main" val="3608715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666000" y="673200"/>
            <a:ext cx="10816149" cy="525600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AU" sz="320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778274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column with short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09728"/>
            <a:ext cx="2206774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7" name="Text Placeholder 20"/>
          <p:cNvSpPr>
            <a:spLocks noGrp="1"/>
          </p:cNvSpPr>
          <p:nvPr>
            <p:ph type="body" sz="quarter" idx="26" hasCustomPrompt="1"/>
          </p:nvPr>
        </p:nvSpPr>
        <p:spPr>
          <a:xfrm>
            <a:off x="232922" y="472593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7" hasCustomPrompt="1"/>
          </p:nvPr>
        </p:nvSpPr>
        <p:spPr>
          <a:xfrm>
            <a:off x="232922" y="274571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232922" y="765498"/>
            <a:ext cx="1800200" cy="1448048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  <a:p>
            <a:pPr lvl="0"/>
            <a:r>
              <a:rPr lang="en-AU" noProof="0" dirty="0"/>
              <a:t>Content</a:t>
            </a:r>
          </a:p>
        </p:txBody>
      </p:sp>
      <p:sp>
        <p:nvSpPr>
          <p:cNvPr id="10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638822" y="673547"/>
            <a:ext cx="8884841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2666677" y="1774800"/>
            <a:ext cx="882550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363116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6" name="Freeform 15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901184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247046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2260600" y="-1035050"/>
            <a:ext cx="685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4899600" y="673547"/>
            <a:ext cx="665259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748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4899600" y="1774800"/>
            <a:ext cx="6590996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22000" y="1806543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502" y="5253081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17" name="Freeform 16"/>
          <p:cNvSpPr>
            <a:spLocks noChangeAspect="1" noEditPoints="1"/>
          </p:cNvSpPr>
          <p:nvPr userDrawn="1"/>
        </p:nvSpPr>
        <p:spPr bwMode="auto">
          <a:xfrm>
            <a:off x="478582" y="1344265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8" name="Freeform 17"/>
          <p:cNvSpPr>
            <a:spLocks noChangeAspect="1" noEditPoints="1"/>
          </p:cNvSpPr>
          <p:nvPr userDrawn="1"/>
        </p:nvSpPr>
        <p:spPr bwMode="auto">
          <a:xfrm rot="10800000">
            <a:off x="3646935" y="4430151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48804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7669488" y="1"/>
            <a:ext cx="4520925" cy="6886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50000">
                <a:schemeClr val="tx2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BB45C4DF-C563-4239-8E2E-0862B136B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163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7668675" y="109728"/>
            <a:ext cx="4520925" cy="67498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191487" y="1799228"/>
            <a:ext cx="3528378" cy="2520875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 Semilight" panose="020B04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Quot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157989" y="5245766"/>
            <a:ext cx="3600203" cy="440432"/>
          </a:xfrm>
          <a:prstGeom prst="rect">
            <a:avLst/>
          </a:prstGeom>
        </p:spPr>
        <p:txBody>
          <a:bodyPr anchor="ctr"/>
          <a:lstStyle>
            <a:lvl1pPr algn="r">
              <a:defRPr sz="1400" i="1" baseline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- Speaker</a:t>
            </a:r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8148069" y="1336950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22" name="Freeform 21"/>
          <p:cNvSpPr>
            <a:spLocks noChangeAspect="1" noEditPoints="1"/>
          </p:cNvSpPr>
          <p:nvPr userDrawn="1"/>
        </p:nvSpPr>
        <p:spPr bwMode="auto">
          <a:xfrm rot="10800000">
            <a:off x="11316422" y="4422836"/>
            <a:ext cx="422366" cy="339258"/>
          </a:xfrm>
          <a:custGeom>
            <a:avLst/>
            <a:gdLst>
              <a:gd name="T0" fmla="*/ 170 w 285"/>
              <a:gd name="T1" fmla="*/ 229 h 229"/>
              <a:gd name="T2" fmla="*/ 163 w 285"/>
              <a:gd name="T3" fmla="*/ 183 h 229"/>
              <a:gd name="T4" fmla="*/ 165 w 285"/>
              <a:gd name="T5" fmla="*/ 99 h 229"/>
              <a:gd name="T6" fmla="*/ 186 w 285"/>
              <a:gd name="T7" fmla="*/ 29 h 229"/>
              <a:gd name="T8" fmla="*/ 251 w 285"/>
              <a:gd name="T9" fmla="*/ 0 h 229"/>
              <a:gd name="T10" fmla="*/ 284 w 285"/>
              <a:gd name="T11" fmla="*/ 57 h 229"/>
              <a:gd name="T12" fmla="*/ 278 w 285"/>
              <a:gd name="T13" fmla="*/ 66 h 229"/>
              <a:gd name="T14" fmla="*/ 231 w 285"/>
              <a:gd name="T15" fmla="*/ 108 h 229"/>
              <a:gd name="T16" fmla="*/ 284 w 285"/>
              <a:gd name="T17" fmla="*/ 114 h 229"/>
              <a:gd name="T18" fmla="*/ 278 w 285"/>
              <a:gd name="T19" fmla="*/ 229 h 229"/>
              <a:gd name="T20" fmla="*/ 272 w 285"/>
              <a:gd name="T21" fmla="*/ 217 h 229"/>
              <a:gd name="T22" fmla="*/ 224 w 285"/>
              <a:gd name="T23" fmla="*/ 120 h 229"/>
              <a:gd name="T24" fmla="*/ 233 w 285"/>
              <a:gd name="T25" fmla="*/ 68 h 229"/>
              <a:gd name="T26" fmla="*/ 248 w 285"/>
              <a:gd name="T27" fmla="*/ 12 h 229"/>
              <a:gd name="T28" fmla="*/ 196 w 285"/>
              <a:gd name="T29" fmla="*/ 36 h 229"/>
              <a:gd name="T30" fmla="*/ 176 w 285"/>
              <a:gd name="T31" fmla="*/ 100 h 229"/>
              <a:gd name="T32" fmla="*/ 175 w 285"/>
              <a:gd name="T33" fmla="*/ 182 h 229"/>
              <a:gd name="T34" fmla="*/ 116 w 285"/>
              <a:gd name="T35" fmla="*/ 229 h 229"/>
              <a:gd name="T36" fmla="*/ 1 w 285"/>
              <a:gd name="T37" fmla="*/ 223 h 229"/>
              <a:gd name="T38" fmla="*/ 0 w 285"/>
              <a:gd name="T39" fmla="*/ 143 h 229"/>
              <a:gd name="T40" fmla="*/ 9 w 285"/>
              <a:gd name="T41" fmla="*/ 61 h 229"/>
              <a:gd name="T42" fmla="*/ 50 w 285"/>
              <a:gd name="T43" fmla="*/ 8 h 229"/>
              <a:gd name="T44" fmla="*/ 94 w 285"/>
              <a:gd name="T45" fmla="*/ 3 h 229"/>
              <a:gd name="T46" fmla="*/ 121 w 285"/>
              <a:gd name="T47" fmla="*/ 63 h 229"/>
              <a:gd name="T48" fmla="*/ 78 w 285"/>
              <a:gd name="T49" fmla="*/ 77 h 229"/>
              <a:gd name="T50" fmla="*/ 116 w 285"/>
              <a:gd name="T51" fmla="*/ 108 h 229"/>
              <a:gd name="T52" fmla="*/ 122 w 285"/>
              <a:gd name="T53" fmla="*/ 223 h 229"/>
              <a:gd name="T54" fmla="*/ 13 w 285"/>
              <a:gd name="T55" fmla="*/ 217 h 229"/>
              <a:gd name="T56" fmla="*/ 110 w 285"/>
              <a:gd name="T57" fmla="*/ 120 h 229"/>
              <a:gd name="T58" fmla="*/ 55 w 285"/>
              <a:gd name="T59" fmla="*/ 114 h 229"/>
              <a:gd name="T60" fmla="*/ 106 w 285"/>
              <a:gd name="T61" fmla="*/ 54 h 229"/>
              <a:gd name="T62" fmla="*/ 55 w 285"/>
              <a:gd name="T63" fmla="*/ 18 h 229"/>
              <a:gd name="T64" fmla="*/ 20 w 285"/>
              <a:gd name="T65" fmla="*/ 64 h 229"/>
              <a:gd name="T66" fmla="*/ 12 w 285"/>
              <a:gd name="T67" fmla="*/ 143 h 229"/>
              <a:gd name="T68" fmla="*/ 13 w 285"/>
              <a:gd name="T69" fmla="*/ 21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229">
                <a:moveTo>
                  <a:pt x="278" y="229"/>
                </a:moveTo>
                <a:cubicBezTo>
                  <a:pt x="170" y="229"/>
                  <a:pt x="170" y="229"/>
                  <a:pt x="170" y="229"/>
                </a:cubicBezTo>
                <a:cubicBezTo>
                  <a:pt x="167" y="229"/>
                  <a:pt x="164" y="226"/>
                  <a:pt x="164" y="223"/>
                </a:cubicBezTo>
                <a:cubicBezTo>
                  <a:pt x="164" y="214"/>
                  <a:pt x="164" y="201"/>
                  <a:pt x="163" y="183"/>
                </a:cubicBezTo>
                <a:cubicBezTo>
                  <a:pt x="163" y="143"/>
                  <a:pt x="163" y="143"/>
                  <a:pt x="163" y="143"/>
                </a:cubicBezTo>
                <a:cubicBezTo>
                  <a:pt x="163" y="126"/>
                  <a:pt x="163" y="112"/>
                  <a:pt x="165" y="99"/>
                </a:cubicBezTo>
                <a:cubicBezTo>
                  <a:pt x="165" y="88"/>
                  <a:pt x="167" y="77"/>
                  <a:pt x="171" y="62"/>
                </a:cubicBezTo>
                <a:cubicBezTo>
                  <a:pt x="174" y="49"/>
                  <a:pt x="179" y="38"/>
                  <a:pt x="186" y="29"/>
                </a:cubicBezTo>
                <a:cubicBezTo>
                  <a:pt x="192" y="20"/>
                  <a:pt x="201" y="13"/>
                  <a:pt x="213" y="8"/>
                </a:cubicBezTo>
                <a:cubicBezTo>
                  <a:pt x="224" y="3"/>
                  <a:pt x="237" y="0"/>
                  <a:pt x="251" y="0"/>
                </a:cubicBezTo>
                <a:cubicBezTo>
                  <a:pt x="254" y="0"/>
                  <a:pt x="256" y="1"/>
                  <a:pt x="257" y="3"/>
                </a:cubicBezTo>
                <a:cubicBezTo>
                  <a:pt x="284" y="57"/>
                  <a:pt x="284" y="57"/>
                  <a:pt x="284" y="57"/>
                </a:cubicBezTo>
                <a:cubicBezTo>
                  <a:pt x="285" y="59"/>
                  <a:pt x="285" y="61"/>
                  <a:pt x="283" y="63"/>
                </a:cubicBezTo>
                <a:cubicBezTo>
                  <a:pt x="282" y="65"/>
                  <a:pt x="280" y="66"/>
                  <a:pt x="278" y="66"/>
                </a:cubicBezTo>
                <a:cubicBezTo>
                  <a:pt x="261" y="66"/>
                  <a:pt x="249" y="70"/>
                  <a:pt x="241" y="77"/>
                </a:cubicBezTo>
                <a:cubicBezTo>
                  <a:pt x="235" y="83"/>
                  <a:pt x="231" y="94"/>
                  <a:pt x="231" y="108"/>
                </a:cubicBezTo>
                <a:cubicBezTo>
                  <a:pt x="278" y="108"/>
                  <a:pt x="278" y="108"/>
                  <a:pt x="278" y="108"/>
                </a:cubicBezTo>
                <a:cubicBezTo>
                  <a:pt x="282" y="108"/>
                  <a:pt x="284" y="111"/>
                  <a:pt x="284" y="114"/>
                </a:cubicBezTo>
                <a:cubicBezTo>
                  <a:pt x="284" y="223"/>
                  <a:pt x="284" y="223"/>
                  <a:pt x="284" y="223"/>
                </a:cubicBezTo>
                <a:cubicBezTo>
                  <a:pt x="284" y="226"/>
                  <a:pt x="282" y="229"/>
                  <a:pt x="278" y="229"/>
                </a:cubicBezTo>
                <a:close/>
                <a:moveTo>
                  <a:pt x="176" y="217"/>
                </a:moveTo>
                <a:cubicBezTo>
                  <a:pt x="272" y="217"/>
                  <a:pt x="272" y="217"/>
                  <a:pt x="272" y="217"/>
                </a:cubicBezTo>
                <a:cubicBezTo>
                  <a:pt x="272" y="120"/>
                  <a:pt x="272" y="120"/>
                  <a:pt x="272" y="120"/>
                </a:cubicBezTo>
                <a:cubicBezTo>
                  <a:pt x="224" y="120"/>
                  <a:pt x="224" y="120"/>
                  <a:pt x="224" y="120"/>
                </a:cubicBezTo>
                <a:cubicBezTo>
                  <a:pt x="221" y="120"/>
                  <a:pt x="218" y="118"/>
                  <a:pt x="218" y="114"/>
                </a:cubicBezTo>
                <a:cubicBezTo>
                  <a:pt x="218" y="94"/>
                  <a:pt x="223" y="78"/>
                  <a:pt x="233" y="68"/>
                </a:cubicBezTo>
                <a:cubicBezTo>
                  <a:pt x="241" y="60"/>
                  <a:pt x="253" y="56"/>
                  <a:pt x="269" y="54"/>
                </a:cubicBezTo>
                <a:cubicBezTo>
                  <a:pt x="248" y="12"/>
                  <a:pt x="248" y="12"/>
                  <a:pt x="248" y="12"/>
                </a:cubicBezTo>
                <a:cubicBezTo>
                  <a:pt x="236" y="12"/>
                  <a:pt x="226" y="15"/>
                  <a:pt x="218" y="18"/>
                </a:cubicBezTo>
                <a:cubicBezTo>
                  <a:pt x="208" y="23"/>
                  <a:pt x="201" y="29"/>
                  <a:pt x="196" y="36"/>
                </a:cubicBezTo>
                <a:cubicBezTo>
                  <a:pt x="190" y="44"/>
                  <a:pt x="185" y="54"/>
                  <a:pt x="183" y="64"/>
                </a:cubicBezTo>
                <a:cubicBezTo>
                  <a:pt x="179" y="79"/>
                  <a:pt x="177" y="90"/>
                  <a:pt x="176" y="100"/>
                </a:cubicBezTo>
                <a:cubicBezTo>
                  <a:pt x="175" y="112"/>
                  <a:pt x="175" y="126"/>
                  <a:pt x="175" y="143"/>
                </a:cubicBezTo>
                <a:cubicBezTo>
                  <a:pt x="175" y="182"/>
                  <a:pt x="175" y="182"/>
                  <a:pt x="175" y="182"/>
                </a:cubicBezTo>
                <a:cubicBezTo>
                  <a:pt x="176" y="197"/>
                  <a:pt x="176" y="208"/>
                  <a:pt x="176" y="217"/>
                </a:cubicBezTo>
                <a:close/>
                <a:moveTo>
                  <a:pt x="116" y="229"/>
                </a:moveTo>
                <a:cubicBezTo>
                  <a:pt x="7" y="229"/>
                  <a:pt x="7" y="229"/>
                  <a:pt x="7" y="229"/>
                </a:cubicBezTo>
                <a:cubicBezTo>
                  <a:pt x="4" y="229"/>
                  <a:pt x="1" y="226"/>
                  <a:pt x="1" y="223"/>
                </a:cubicBezTo>
                <a:cubicBezTo>
                  <a:pt x="1" y="214"/>
                  <a:pt x="1" y="201"/>
                  <a:pt x="1" y="183"/>
                </a:cubicBezTo>
                <a:cubicBezTo>
                  <a:pt x="0" y="165"/>
                  <a:pt x="0" y="151"/>
                  <a:pt x="0" y="143"/>
                </a:cubicBezTo>
                <a:cubicBezTo>
                  <a:pt x="0" y="126"/>
                  <a:pt x="1" y="112"/>
                  <a:pt x="1" y="99"/>
                </a:cubicBezTo>
                <a:cubicBezTo>
                  <a:pt x="3" y="84"/>
                  <a:pt x="5" y="72"/>
                  <a:pt x="9" y="61"/>
                </a:cubicBezTo>
                <a:cubicBezTo>
                  <a:pt x="12" y="48"/>
                  <a:pt x="17" y="37"/>
                  <a:pt x="23" y="29"/>
                </a:cubicBezTo>
                <a:cubicBezTo>
                  <a:pt x="31" y="20"/>
                  <a:pt x="39" y="13"/>
                  <a:pt x="50" y="8"/>
                </a:cubicBezTo>
                <a:cubicBezTo>
                  <a:pt x="61" y="2"/>
                  <a:pt x="75" y="0"/>
                  <a:pt x="89" y="0"/>
                </a:cubicBezTo>
                <a:cubicBezTo>
                  <a:pt x="91" y="0"/>
                  <a:pt x="93" y="1"/>
                  <a:pt x="94" y="3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2" y="59"/>
                  <a:pt x="122" y="61"/>
                  <a:pt x="121" y="63"/>
                </a:cubicBezTo>
                <a:cubicBezTo>
                  <a:pt x="120" y="65"/>
                  <a:pt x="118" y="66"/>
                  <a:pt x="116" y="66"/>
                </a:cubicBezTo>
                <a:cubicBezTo>
                  <a:pt x="99" y="66"/>
                  <a:pt x="86" y="70"/>
                  <a:pt x="78" y="77"/>
                </a:cubicBezTo>
                <a:cubicBezTo>
                  <a:pt x="72" y="83"/>
                  <a:pt x="68" y="94"/>
                  <a:pt x="68" y="108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9" y="108"/>
                  <a:pt x="122" y="111"/>
                  <a:pt x="122" y="114"/>
                </a:cubicBezTo>
                <a:cubicBezTo>
                  <a:pt x="122" y="223"/>
                  <a:pt x="122" y="223"/>
                  <a:pt x="122" y="223"/>
                </a:cubicBezTo>
                <a:cubicBezTo>
                  <a:pt x="122" y="226"/>
                  <a:pt x="119" y="229"/>
                  <a:pt x="116" y="229"/>
                </a:cubicBezTo>
                <a:close/>
                <a:moveTo>
                  <a:pt x="13" y="217"/>
                </a:moveTo>
                <a:cubicBezTo>
                  <a:pt x="110" y="217"/>
                  <a:pt x="110" y="217"/>
                  <a:pt x="110" y="217"/>
                </a:cubicBezTo>
                <a:cubicBezTo>
                  <a:pt x="110" y="120"/>
                  <a:pt x="110" y="120"/>
                  <a:pt x="110" y="120"/>
                </a:cubicBezTo>
                <a:cubicBezTo>
                  <a:pt x="61" y="120"/>
                  <a:pt x="61" y="120"/>
                  <a:pt x="61" y="120"/>
                </a:cubicBezTo>
                <a:cubicBezTo>
                  <a:pt x="58" y="120"/>
                  <a:pt x="55" y="118"/>
                  <a:pt x="55" y="114"/>
                </a:cubicBezTo>
                <a:cubicBezTo>
                  <a:pt x="55" y="94"/>
                  <a:pt x="60" y="78"/>
                  <a:pt x="70" y="68"/>
                </a:cubicBezTo>
                <a:cubicBezTo>
                  <a:pt x="78" y="60"/>
                  <a:pt x="90" y="56"/>
                  <a:pt x="106" y="54"/>
                </a:cubicBezTo>
                <a:cubicBezTo>
                  <a:pt x="85" y="12"/>
                  <a:pt x="85" y="12"/>
                  <a:pt x="85" y="12"/>
                </a:cubicBezTo>
                <a:cubicBezTo>
                  <a:pt x="74" y="12"/>
                  <a:pt x="64" y="15"/>
                  <a:pt x="55" y="18"/>
                </a:cubicBezTo>
                <a:cubicBezTo>
                  <a:pt x="46" y="23"/>
                  <a:pt x="39" y="28"/>
                  <a:pt x="33" y="36"/>
                </a:cubicBezTo>
                <a:cubicBezTo>
                  <a:pt x="28" y="43"/>
                  <a:pt x="23" y="52"/>
                  <a:pt x="20" y="64"/>
                </a:cubicBezTo>
                <a:cubicBezTo>
                  <a:pt x="17" y="75"/>
                  <a:pt x="15" y="86"/>
                  <a:pt x="13" y="100"/>
                </a:cubicBezTo>
                <a:cubicBezTo>
                  <a:pt x="13" y="113"/>
                  <a:pt x="12" y="126"/>
                  <a:pt x="12" y="143"/>
                </a:cubicBezTo>
                <a:cubicBezTo>
                  <a:pt x="12" y="151"/>
                  <a:pt x="12" y="164"/>
                  <a:pt x="13" y="182"/>
                </a:cubicBezTo>
                <a:cubicBezTo>
                  <a:pt x="13" y="197"/>
                  <a:pt x="13" y="208"/>
                  <a:pt x="13" y="217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AU" noProof="0"/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6796608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6738637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E3A28E-3AD3-4A90-A670-A7296BBD18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30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A68721-F0CE-4574-B5D5-CA51864018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01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9405828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837876" y="1799377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000" y="673547"/>
            <a:ext cx="838078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666000" y="1774800"/>
            <a:ext cx="8361274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78192-7EF6-479E-9BE0-317D15199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3459" y="6438864"/>
            <a:ext cx="664393" cy="1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511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Gre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92062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4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06384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lu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25474" y="109728"/>
            <a:ext cx="2792100" cy="67482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3357" y="1771933"/>
            <a:ext cx="1800200" cy="3700598"/>
          </a:xfrm>
          <a:prstGeom prst="rect">
            <a:avLst/>
          </a:prstGeom>
        </p:spPr>
        <p:txBody>
          <a:bodyPr anchor="ctr"/>
          <a:lstStyle>
            <a:lvl1pPr algn="ctr">
              <a:defRPr sz="200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AU" noProof="0" dirty="0"/>
              <a:t>Insight</a:t>
            </a:r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3218400" y="673547"/>
            <a:ext cx="8291924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3218400" y="1774800"/>
            <a:ext cx="8273492" cy="437618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4664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883745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07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-3377" y="1701602"/>
            <a:ext cx="12193790" cy="4515602"/>
          </a:xfrm>
          <a:prstGeom prst="rect">
            <a:avLst/>
          </a:prstGeom>
          <a:solidFill>
            <a:srgbClr val="E6E6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66000" y="663509"/>
            <a:ext cx="10816149" cy="544983"/>
          </a:xfrm>
          <a:prstGeom prst="rect">
            <a:avLst/>
          </a:prstGeom>
          <a:noFill/>
        </p:spPr>
        <p:txBody>
          <a:bodyPr wrap="square" lIns="0" tIns="50400" rIns="0" bIns="50400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3200" noProof="0" dirty="0">
                <a:solidFill>
                  <a:schemeClr val="bg2"/>
                </a:solidFill>
                <a:latin typeface="+mj-lt"/>
              </a:rPr>
              <a:t>Content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A051EDA1-C22D-41A5-876D-7AFEABDE78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4792" y="1774098"/>
            <a:ext cx="10831014" cy="4392000"/>
          </a:xfrm>
          <a:prstGeom prst="rect">
            <a:avLst/>
          </a:prstGeom>
        </p:spPr>
        <p:txBody>
          <a:bodyPr/>
          <a:lstStyle>
            <a:lvl1pPr marL="360000" marR="0" indent="-360000" algn="l" defTabSz="1039033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bg2"/>
              </a:buClr>
              <a:buSzTx/>
              <a:buFont typeface="+mj-lt"/>
              <a:buAutoNum type="arabicPeriod"/>
              <a:tabLst/>
              <a:defRPr/>
            </a:lvl1pPr>
            <a:lvl2pPr marL="720000" indent="-360000">
              <a:spcBef>
                <a:spcPts val="24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80000" indent="-360000">
              <a:spcBef>
                <a:spcPts val="2400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/>
            </a:lvl3pPr>
            <a:lvl4pPr marL="920403" indent="0">
              <a:buClr>
                <a:schemeClr val="accent4"/>
              </a:buClr>
              <a:buFont typeface="+mj-lt"/>
              <a:buNone/>
              <a:defRPr/>
            </a:lvl4pPr>
          </a:lstStyle>
          <a:p>
            <a:pPr lvl="0"/>
            <a:r>
              <a:rPr lang="en-AU" dirty="0"/>
              <a:t>Insert table of contents</a:t>
            </a:r>
          </a:p>
          <a:p>
            <a:pPr lvl="1"/>
            <a:r>
              <a:rPr lang="en-AU" noProof="0" dirty="0"/>
              <a:t>Second</a:t>
            </a:r>
            <a:r>
              <a:rPr lang="en-AU" dirty="0"/>
              <a:t> line</a:t>
            </a:r>
          </a:p>
          <a:p>
            <a:pPr lvl="2"/>
            <a:r>
              <a:rPr lang="en-AU" dirty="0"/>
              <a:t>Third line</a:t>
            </a:r>
          </a:p>
        </p:txBody>
      </p:sp>
    </p:spTree>
    <p:extLst>
      <p:ext uri="{BB962C8B-B14F-4D97-AF65-F5344CB8AC3E}">
        <p14:creationId xmlns:p14="http://schemas.microsoft.com/office/powerpoint/2010/main" val="10473309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12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accent5"/>
          </a:solidFill>
        </p:spPr>
        <p:txBody>
          <a:bodyPr lIns="9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1015718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/insigh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666000" y="1527175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6202800" y="1515674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66000" y="3991452"/>
            <a:ext cx="5328000" cy="2268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22"/>
          </p:nvPr>
        </p:nvSpPr>
        <p:spPr>
          <a:xfrm>
            <a:off x="6202800" y="3979951"/>
            <a:ext cx="5328000" cy="2268538"/>
          </a:xfrm>
          <a:prstGeom prst="rect">
            <a:avLst/>
          </a:prstGeom>
          <a:solidFill>
            <a:schemeClr val="bg2"/>
          </a:solidFill>
        </p:spPr>
        <p:txBody>
          <a:bodyPr lIns="9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2705955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A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FF8B8D-2DA6-46D9-A6AA-A72703761021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Australia, the UK and Canada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094D2-54F5-49B2-BD82-DAE96E9A80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6A03CA-95D9-4DE9-9668-DAC276F1284F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0FB461-B493-4A69-A4AB-9F564D51B75D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356F1B-AD1E-4C1D-B8B8-277B8C02CB38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1" name="Freeform 70">
              <a:extLst>
                <a:ext uri="{FF2B5EF4-FFF2-40B4-BE49-F238E27FC236}">
                  <a16:creationId xmlns:a16="http://schemas.microsoft.com/office/drawing/2014/main" id="{AE03600D-DC00-4DE3-8C3E-D8DD4EF9B8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4124DB3-E850-4A62-851F-2B55DF1C8099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DCDBC65-D962-4363-A2BA-6E8EE86D35DC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2601D8C4-1CF5-4C44-AF36-3941AD25A7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7E0D545-EAEE-45E7-8A6C-32DCB10503E4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A06C2474-EA53-444D-A81C-BEF3B01A43BC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52" name="Freeform 70">
              <a:extLst>
                <a:ext uri="{FF2B5EF4-FFF2-40B4-BE49-F238E27FC236}">
                  <a16:creationId xmlns:a16="http://schemas.microsoft.com/office/drawing/2014/main" id="{3DA58271-EC98-405C-A2A6-C9C2F53787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F3AE81F-F615-46E0-8E22-5AFC4562A173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16" name="Rectangle 15"/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the UK, Australia and Canada.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4E17A5-14C6-40E5-85C0-1AED71916E19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31E3A0-4D1D-4C0B-8D80-D710A2E2D3D2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43" name="Freeform 70">
              <a:extLst>
                <a:ext uri="{FF2B5EF4-FFF2-40B4-BE49-F238E27FC236}">
                  <a16:creationId xmlns:a16="http://schemas.microsoft.com/office/drawing/2014/main" id="{BBB35ADF-AAF1-4F82-9192-0FD346BEC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BB6D4-05AC-45B9-97F1-65572F302B8D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C33D3FA-D99F-49A5-BCE6-C1BB4AA7559D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44" name="Freeform 70">
              <a:extLst>
                <a:ext uri="{FF2B5EF4-FFF2-40B4-BE49-F238E27FC236}">
                  <a16:creationId xmlns:a16="http://schemas.microsoft.com/office/drawing/2014/main" id="{5A34CBB2-2E73-4AE3-9E06-C12C0F5EE4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57D016A-1475-42FD-B9BF-24A46D9FFF4C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69F6100-29CF-4CC0-A93A-8AF2DBF18982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371E7130-B2AA-4686-A656-C1F7E44CE5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B4F7C012-405D-4BF0-8A85-9BBAB9B36CC0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859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Nous_Ca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5382315-0994-4BAF-876F-8ECB35C1C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416" y="1122417"/>
            <a:ext cx="3960440" cy="1082447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26E339E-AF7C-4459-95B0-5BA0A3DDD066}"/>
              </a:ext>
            </a:extLst>
          </p:cNvPr>
          <p:cNvCxnSpPr/>
          <p:nvPr userDrawn="1"/>
        </p:nvCxnSpPr>
        <p:spPr>
          <a:xfrm>
            <a:off x="3009900" y="3165288"/>
            <a:ext cx="6170612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9C4BD81-71DC-4DF0-9CD4-998A3829DAF3}"/>
              </a:ext>
            </a:extLst>
          </p:cNvPr>
          <p:cNvSpPr txBox="1"/>
          <p:nvPr userDrawn="1"/>
        </p:nvSpPr>
        <p:spPr>
          <a:xfrm>
            <a:off x="5299636" y="2961572"/>
            <a:ext cx="15911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000" noProof="0" dirty="0">
                <a:solidFill>
                  <a:schemeClr val="bg2"/>
                </a:solidFill>
                <a:latin typeface="Segoe UI Semibold" panose="020B0702040204020203" pitchFamily="34" charset="0"/>
              </a:rPr>
              <a:t>About Nou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1AE65D-28D7-4F3F-9511-99BF2BCED33C}"/>
              </a:ext>
            </a:extLst>
          </p:cNvPr>
          <p:cNvSpPr/>
          <p:nvPr userDrawn="1"/>
        </p:nvSpPr>
        <p:spPr>
          <a:xfrm>
            <a:off x="2566814" y="3430741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us Group is an international management consultancy</a:t>
            </a:r>
            <a:b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AU" sz="1800" noProof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perating in 10 locations across Canada, Australia and the UK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67C217-8858-4206-8A08-D23139D10ACC}"/>
              </a:ext>
            </a:extLst>
          </p:cNvPr>
          <p:cNvSpPr/>
          <p:nvPr userDrawn="1"/>
        </p:nvSpPr>
        <p:spPr>
          <a:xfrm>
            <a:off x="-2" y="4561152"/>
            <a:ext cx="12190413" cy="16442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11D29E-EE8B-42D7-8924-789D31E84FB9}"/>
              </a:ext>
            </a:extLst>
          </p:cNvPr>
          <p:cNvSpPr/>
          <p:nvPr userDrawn="1"/>
        </p:nvSpPr>
        <p:spPr>
          <a:xfrm>
            <a:off x="892785" y="4875462"/>
            <a:ext cx="3966904" cy="101566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AU" sz="1500" noProof="0" dirty="0">
                <a:solidFill>
                  <a:schemeClr val="bg1"/>
                </a:solidFill>
                <a:latin typeface="Segoe UI Semibold" panose="020B0702040204020203" pitchFamily="34" charset="0"/>
                <a:cs typeface="Segoe UI Semilight" panose="020B0402040204020203" pitchFamily="34" charset="0"/>
              </a:rPr>
              <a:t>For over 20 years we have been partnering with leaders to shape world-class businesses, effective governments and empowered communities.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E772A48-3B1B-4AE0-A012-7153A1C27332}"/>
              </a:ext>
            </a:extLst>
          </p:cNvPr>
          <p:cNvGrpSpPr/>
          <p:nvPr userDrawn="1"/>
        </p:nvGrpSpPr>
        <p:grpSpPr>
          <a:xfrm>
            <a:off x="5463012" y="4878652"/>
            <a:ext cx="1867713" cy="1097112"/>
            <a:chOff x="5133630" y="4878652"/>
            <a:chExt cx="1867713" cy="109711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C9D341D-F1B2-4AA9-8DC6-5E1BC19E1534}"/>
                </a:ext>
              </a:extLst>
            </p:cNvPr>
            <p:cNvSpPr/>
            <p:nvPr userDrawn="1"/>
          </p:nvSpPr>
          <p:spPr>
            <a:xfrm>
              <a:off x="5133630" y="5667987"/>
              <a:ext cx="186771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PEOPLE</a:t>
              </a:r>
            </a:p>
          </p:txBody>
        </p:sp>
        <p:sp>
          <p:nvSpPr>
            <p:cNvPr id="31" name="Freeform 70">
              <a:extLst>
                <a:ext uri="{FF2B5EF4-FFF2-40B4-BE49-F238E27FC236}">
                  <a16:creationId xmlns:a16="http://schemas.microsoft.com/office/drawing/2014/main" id="{B021882B-DD35-44F2-B429-52F711AB9D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24756" y="4878652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39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0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6D47BC3-5181-4478-A753-786CDBDD44C8}"/>
              </a:ext>
            </a:extLst>
          </p:cNvPr>
          <p:cNvGrpSpPr/>
          <p:nvPr userDrawn="1"/>
        </p:nvGrpSpPr>
        <p:grpSpPr>
          <a:xfrm>
            <a:off x="7481556" y="4862851"/>
            <a:ext cx="1674758" cy="1112913"/>
            <a:chOff x="6920800" y="4862851"/>
            <a:chExt cx="1674758" cy="111291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4A7C5E-9E59-4255-8774-DE0C1B515D50}"/>
                </a:ext>
              </a:extLst>
            </p:cNvPr>
            <p:cNvSpPr/>
            <p:nvPr userDrawn="1"/>
          </p:nvSpPr>
          <p:spPr>
            <a:xfrm>
              <a:off x="6920800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LOCATIONS</a:t>
              </a: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id="{6DDAC442-1A3F-4AE1-A601-C20CF9BBE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15449" y="4862851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57EC07-29CB-49AF-AC13-CF2B4D590DA5}"/>
              </a:ext>
            </a:extLst>
          </p:cNvPr>
          <p:cNvGrpSpPr/>
          <p:nvPr userDrawn="1"/>
        </p:nvGrpSpPr>
        <p:grpSpPr>
          <a:xfrm>
            <a:off x="9307145" y="4866100"/>
            <a:ext cx="1674758" cy="1109664"/>
            <a:chOff x="8623771" y="4866100"/>
            <a:chExt cx="1674758" cy="110966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977860-CD44-4670-AB9B-8D9C3B42EF38}"/>
                </a:ext>
              </a:extLst>
            </p:cNvPr>
            <p:cNvSpPr/>
            <p:nvPr userDrawn="1"/>
          </p:nvSpPr>
          <p:spPr>
            <a:xfrm>
              <a:off x="8623771" y="5667987"/>
              <a:ext cx="167475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AU" sz="1400" b="1" dirty="0">
                  <a:solidFill>
                    <a:schemeClr val="bg1"/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COUNTRIES</a:t>
              </a: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9CA64474-1CDD-4237-BE98-E9D34EB8A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8420" y="4866100"/>
              <a:ext cx="685460" cy="688102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8 h 220"/>
                <a:gd name="T12" fmla="*/ 8 w 220"/>
                <a:gd name="T13" fmla="*/ 110 h 220"/>
                <a:gd name="T14" fmla="*/ 110 w 220"/>
                <a:gd name="T15" fmla="*/ 212 h 220"/>
                <a:gd name="T16" fmla="*/ 212 w 220"/>
                <a:gd name="T17" fmla="*/ 110 h 220"/>
                <a:gd name="T18" fmla="*/ 110 w 220"/>
                <a:gd name="T19" fmla="*/ 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8"/>
                  </a:moveTo>
                  <a:cubicBezTo>
                    <a:pt x="54" y="8"/>
                    <a:pt x="8" y="54"/>
                    <a:pt x="8" y="110"/>
                  </a:cubicBezTo>
                  <a:cubicBezTo>
                    <a:pt x="8" y="166"/>
                    <a:pt x="54" y="212"/>
                    <a:pt x="110" y="212"/>
                  </a:cubicBezTo>
                  <a:cubicBezTo>
                    <a:pt x="166" y="212"/>
                    <a:pt x="212" y="166"/>
                    <a:pt x="212" y="110"/>
                  </a:cubicBezTo>
                  <a:cubicBezTo>
                    <a:pt x="212" y="54"/>
                    <a:pt x="166" y="8"/>
                    <a:pt x="110" y="8"/>
                  </a:cubicBez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000">
                  <a:schemeClr val="accent4"/>
                </a:gs>
                <a:gs pos="65000">
                  <a:schemeClr val="accent3"/>
                </a:gs>
                <a:gs pos="31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36000" rIns="91440" bIns="3600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kumimoji="0" lang="en-A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3</a:t>
              </a:r>
              <a:endParaRPr lang="en-AU" sz="18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BC3DC19-B507-45DE-B600-489B2404C91C}"/>
              </a:ext>
            </a:extLst>
          </p:cNvPr>
          <p:cNvSpPr/>
          <p:nvPr userDrawn="1"/>
        </p:nvSpPr>
        <p:spPr>
          <a:xfrm>
            <a:off x="11120284" y="6400800"/>
            <a:ext cx="1070127" cy="458788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27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Key poin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89771" y="548808"/>
            <a:ext cx="10899484" cy="504173"/>
          </a:xfrm>
          <a:prstGeom prst="rect">
            <a:avLst/>
          </a:prstGeom>
        </p:spPr>
        <p:txBody>
          <a:bodyPr anchor="t"/>
          <a:lstStyle>
            <a:lvl1pPr>
              <a:defRPr sz="3199">
                <a:solidFill>
                  <a:schemeClr val="bg2"/>
                </a:solidFill>
                <a:latin typeface="Segoe UI Semibold" panose="020B07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en-AU" noProof="0"/>
              <a:t>Governing thought</a:t>
            </a:r>
          </a:p>
        </p:txBody>
      </p:sp>
      <p:pic>
        <p:nvPicPr>
          <p:cNvPr id="4" name="Picture 3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89600" cy="10972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32687" y="1557700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132839" y="2781572"/>
            <a:ext cx="10456020" cy="1008345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32839" y="4007073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" y="109753"/>
            <a:ext cx="427394" cy="67514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2" name="Oval 11"/>
          <p:cNvSpPr>
            <a:spLocks noChangeAspect="1"/>
          </p:cNvSpPr>
          <p:nvPr userDrawn="1"/>
        </p:nvSpPr>
        <p:spPr>
          <a:xfrm>
            <a:off x="244715" y="1917277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3" name="Oval 12"/>
          <p:cNvSpPr>
            <a:spLocks noChangeAspect="1"/>
          </p:cNvSpPr>
          <p:nvPr userDrawn="1"/>
        </p:nvSpPr>
        <p:spPr>
          <a:xfrm>
            <a:off x="244715" y="3213753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4" name="Oval 13"/>
          <p:cNvSpPr>
            <a:spLocks noChangeAspect="1"/>
          </p:cNvSpPr>
          <p:nvPr userDrawn="1"/>
        </p:nvSpPr>
        <p:spPr>
          <a:xfrm>
            <a:off x="244715" y="5662592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880348" y="6393842"/>
            <a:ext cx="974751" cy="320362"/>
          </a:xfrm>
          <a:prstGeom prst="rect">
            <a:avLst/>
          </a:prstGeom>
          <a:noFill/>
        </p:spPr>
        <p:txBody>
          <a:bodyPr wrap="square" lIns="103879" tIns="51940" rIns="103879" bIns="51940" rtlCol="0">
            <a:spAutoFit/>
          </a:bodyPr>
          <a:lstStyle/>
          <a:p>
            <a:pPr algn="r"/>
            <a:fld id="{6E8856DA-B77A-4A94-8E84-45BF77D9376B}" type="slidenum">
              <a:rPr lang="en-AU" sz="1400" noProof="0" smtClean="0">
                <a:solidFill>
                  <a:schemeClr val="accent3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AU" sz="1400" noProof="0">
              <a:solidFill>
                <a:schemeClr val="accent3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32839" y="5230411"/>
            <a:ext cx="10456020" cy="1008345"/>
          </a:xfrm>
        </p:spPr>
        <p:txBody>
          <a:bodyPr anchor="ctr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244715" y="4366116"/>
            <a:ext cx="354415" cy="28806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879" tIns="51940" rIns="103879" bIns="51940" rtlCol="0" anchor="ctr"/>
          <a:lstStyle/>
          <a:p>
            <a:pPr algn="ctr" eaLnBrk="1"/>
            <a:endParaRPr lang="en-AU" sz="1800" noProof="0"/>
          </a:p>
        </p:txBody>
      </p:sp>
    </p:spTree>
    <p:extLst>
      <p:ext uri="{BB962C8B-B14F-4D97-AF65-F5344CB8AC3E}">
        <p14:creationId xmlns:p14="http://schemas.microsoft.com/office/powerpoint/2010/main" val="1266164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7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 marL="0" algn="l" defTabSz="1039033" rtl="0" eaLnBrk="1" latinLnBrk="0" hangingPunct="1">
              <a:lnSpc>
                <a:spcPct val="90000"/>
              </a:lnSpc>
              <a:defRPr lang="en-AU" sz="3200" kern="120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dirty="0"/>
              <a:t>Governing </a:t>
            </a:r>
            <a:r>
              <a:rPr lang="en-AU" noProof="0" dirty="0"/>
              <a:t>though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7310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836030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954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graphic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6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Titl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220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519113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75752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06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3190"/>
            <a:ext cx="12193790" cy="45140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586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/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9"/>
            <a:ext cx="10841038" cy="428142"/>
          </a:xfrm>
          <a:prstGeom prst="rect">
            <a:avLst/>
          </a:prstGeom>
        </p:spPr>
        <p:txBody>
          <a:bodyPr anchor="ctr"/>
          <a:lstStyle>
            <a:lvl1pPr>
              <a:defRPr sz="1400"/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5521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 page graphic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14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701602"/>
            <a:ext cx="12193790" cy="45156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AU" noProof="0"/>
          </a:p>
        </p:txBody>
      </p:sp>
      <p:pic>
        <p:nvPicPr>
          <p:cNvPr id="3" name="Picture 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109728"/>
          </a:xfrm>
          <a:prstGeom prst="rect">
            <a:avLst/>
          </a:prstGeom>
        </p:spPr>
      </p:pic>
      <p:sp>
        <p:nvSpPr>
          <p:cNvPr id="8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666750" y="673547"/>
            <a:ext cx="10856913" cy="523999"/>
          </a:xfrm>
          <a:prstGeom prst="rect">
            <a:avLst/>
          </a:prstGeom>
        </p:spPr>
        <p:txBody>
          <a:bodyPr anchor="ctr"/>
          <a:lstStyle>
            <a:lvl1pPr>
              <a:defRPr lang="en-AU" sz="3200" kern="1200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039033" rtl="0" eaLnBrk="1" latinLnBrk="0" hangingPunct="1">
              <a:lnSpc>
                <a:spcPct val="90000"/>
              </a:lnSpc>
              <a:spcBef>
                <a:spcPts val="455"/>
              </a:spcBef>
              <a:buFont typeface="Arial" pitchFamily="34" charset="0"/>
              <a:buNone/>
            </a:pPr>
            <a:r>
              <a:rPr lang="en-AU" noProof="0" dirty="0"/>
              <a:t>Governing though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666750" y="1774062"/>
            <a:ext cx="10817943" cy="38366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AU" noProof="0" dirty="0"/>
              <a:t>Build/insert your diagram/framework or text here</a:t>
            </a:r>
          </a:p>
          <a:p>
            <a:pPr lvl="1"/>
            <a:r>
              <a:rPr lang="en-AU" noProof="0" dirty="0"/>
              <a:t>Second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66750" y="5705958"/>
            <a:ext cx="10841038" cy="4376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7053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7741651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C39E317-E4B9-4DC5-84AE-C69746E8D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92" y="661942"/>
            <a:ext cx="10860016" cy="548117"/>
          </a:xfrm>
          <a:prstGeom prst="rect">
            <a:avLst/>
          </a:prstGeom>
        </p:spPr>
        <p:txBody>
          <a:bodyPr vert="horz" lIns="0" tIns="51952" rIns="0" bIns="51952" rtlCol="0" anchor="ctr" anchorCtr="0">
            <a:spAutoFit/>
          </a:bodyPr>
          <a:lstStyle/>
          <a:p>
            <a:r>
              <a:rPr lang="en-AU" noProof="0" dirty="0"/>
              <a:t>Governing</a:t>
            </a:r>
            <a:r>
              <a:rPr lang="en-AU" dirty="0"/>
              <a:t> though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962D7D9-D342-4842-B0AA-111B705756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4529" y="1774800"/>
            <a:ext cx="10858402" cy="4030942"/>
          </a:xfrm>
          <a:prstGeom prst="rect">
            <a:avLst/>
          </a:prstGeom>
        </p:spPr>
        <p:txBody>
          <a:bodyPr vert="horz" lIns="0" tIns="51952" rIns="0" bIns="51952" rtlCol="0">
            <a:noAutofit/>
          </a:bodyPr>
          <a:lstStyle/>
          <a:p>
            <a:pPr lvl="0"/>
            <a:r>
              <a:rPr lang="en-AU" noProof="0" dirty="0"/>
              <a:t>Body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371333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1" r:id="rId2"/>
    <p:sldLayoutId id="2147483683" r:id="rId3"/>
    <p:sldLayoutId id="2147483706" r:id="rId4"/>
    <p:sldLayoutId id="2147483682" r:id="rId5"/>
    <p:sldLayoutId id="2147483734" r:id="rId6"/>
    <p:sldLayoutId id="2147483709" r:id="rId7"/>
    <p:sldLayoutId id="2147483713" r:id="rId8"/>
    <p:sldLayoutId id="2147483718" r:id="rId9"/>
    <p:sldLayoutId id="2147483733" r:id="rId10"/>
    <p:sldLayoutId id="2147483732" r:id="rId11"/>
    <p:sldLayoutId id="2147483698" r:id="rId12"/>
    <p:sldLayoutId id="2147483699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692" r:id="rId19"/>
    <p:sldLayoutId id="2147483674" r:id="rId20"/>
    <p:sldLayoutId id="2147483737" r:id="rId21"/>
    <p:sldLayoutId id="2147483704" r:id="rId22"/>
    <p:sldLayoutId id="2147483735" r:id="rId23"/>
    <p:sldLayoutId id="2147483736" r:id="rId24"/>
    <p:sldLayoutId id="2147483680" r:id="rId25"/>
    <p:sldLayoutId id="2147483685" r:id="rId26"/>
    <p:sldLayoutId id="2147483677" r:id="rId27"/>
    <p:sldLayoutId id="2147483684" r:id="rId28"/>
    <p:sldLayoutId id="2147483702" r:id="rId29"/>
    <p:sldLayoutId id="2147483701" r:id="rId30"/>
    <p:sldLayoutId id="2147483695" r:id="rId31"/>
    <p:sldLayoutId id="2147483719" r:id="rId32"/>
    <p:sldLayoutId id="2147483720" r:id="rId33"/>
    <p:sldLayoutId id="2147483693" r:id="rId34"/>
    <p:sldLayoutId id="2147483697" r:id="rId35"/>
    <p:sldLayoutId id="2147483694" r:id="rId36"/>
    <p:sldLayoutId id="2147483721" r:id="rId37"/>
    <p:sldLayoutId id="2147483722" r:id="rId38"/>
    <p:sldLayoutId id="2147483729" r:id="rId39"/>
    <p:sldLayoutId id="2147483730" r:id="rId40"/>
    <p:sldLayoutId id="2147483731" r:id="rId41"/>
    <p:sldLayoutId id="2147483740" r:id="rId42"/>
    <p:sldLayoutId id="2147483741" r:id="rId43"/>
    <p:sldLayoutId id="2147483742" r:id="rId44"/>
    <p:sldLayoutId id="2147483743" r:id="rId45"/>
  </p:sldLayoutIdLst>
  <p:hf hdr="0" ftr="0" dt="0"/>
  <p:txStyles>
    <p:titleStyle>
      <a:lvl1pPr algn="l" defTabSz="1039033" rtl="0" eaLnBrk="1" latinLnBrk="0" hangingPunct="1">
        <a:lnSpc>
          <a:spcPct val="90000"/>
        </a:lnSpc>
        <a:spcBef>
          <a:spcPct val="0"/>
        </a:spcBef>
        <a:buNone/>
        <a:defRPr sz="3200" kern="1200" baseline="0">
          <a:solidFill>
            <a:schemeClr val="bg2"/>
          </a:solidFill>
          <a:latin typeface="Segoe UI Semibold" panose="020B0702040204020203" pitchFamily="34" charset="0"/>
          <a:ea typeface="+mj-ea"/>
          <a:cs typeface="+mj-cs"/>
        </a:defRPr>
      </a:lvl1pPr>
    </p:titleStyle>
    <p:bodyStyle>
      <a:lvl1pPr marL="0" indent="0" algn="l" defTabSz="1039033" rtl="0" eaLnBrk="1" latinLnBrk="0" hangingPunct="1">
        <a:spcBef>
          <a:spcPts val="455"/>
        </a:spcBef>
        <a:buFont typeface="Arial" pitchFamily="34" charset="0"/>
        <a:buNone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Arial" pitchFamily="34" charset="0"/>
        <a:buChar char="•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Segoe UI" panose="020B0502040204020203" pitchFamily="34" charset="0"/>
        <a:buChar char="–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72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rabi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6pPr>
      <a:lvl7pPr marL="108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alphaLcPeriod"/>
        <a:defRPr sz="2000" kern="1200" spc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7pPr>
      <a:lvl8pPr marL="1440000" indent="-360000" algn="l" defTabSz="1039033" rtl="0" eaLnBrk="1" latinLnBrk="0" hangingPunct="1">
        <a:spcBef>
          <a:spcPts val="455"/>
        </a:spcBef>
        <a:buClr>
          <a:schemeClr val="bg2"/>
        </a:buClr>
        <a:buFont typeface="+mj-lt"/>
        <a:buAutoNum type="romanLcPeriod"/>
        <a:defRPr sz="2000" kern="1200" spc="0" baseline="0">
          <a:solidFill>
            <a:schemeClr val="bg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8pPr>
      <a:lvl9pPr marL="4415889" indent="-259758" algn="l" defTabSz="1039033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16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33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549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06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582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098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615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131" algn="l" defTabSz="103903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Trent Henderson | 20 May 202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oal scoring in the AFL: A linear modelling exploration</a:t>
            </a:r>
          </a:p>
        </p:txBody>
      </p:sp>
    </p:spTree>
    <p:extLst>
      <p:ext uri="{BB962C8B-B14F-4D97-AF65-F5344CB8AC3E}">
        <p14:creationId xmlns:p14="http://schemas.microsoft.com/office/powerpoint/2010/main" val="2160923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338DBC-3B94-449A-BC1B-1999CFAD51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412" cy="62172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982A72-5F3D-47A2-AF18-AF6F5B062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24" t="20333" r="23175" b="-15504"/>
          <a:stretch/>
        </p:blipFill>
        <p:spPr>
          <a:xfrm>
            <a:off x="5024387" y="0"/>
            <a:ext cx="7166026" cy="41155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DE090DA-2C1B-493D-AF98-F718376D7F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082" t="32384" r="27332" b="-27555"/>
          <a:stretch/>
        </p:blipFill>
        <p:spPr>
          <a:xfrm rot="10800000">
            <a:off x="0" y="2101671"/>
            <a:ext cx="7166026" cy="411553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1CA062C-C49B-479F-AD4A-25F3CDEF6B72}"/>
              </a:ext>
            </a:extLst>
          </p:cNvPr>
          <p:cNvSpPr txBox="1">
            <a:spLocks/>
          </p:cNvSpPr>
          <p:nvPr/>
        </p:nvSpPr>
        <p:spPr>
          <a:xfrm>
            <a:off x="-1" y="577516"/>
            <a:ext cx="12190413" cy="5091764"/>
          </a:xfrm>
          <a:prstGeom prst="rect">
            <a:avLst/>
          </a:prstGeom>
        </p:spPr>
        <p:txBody>
          <a:bodyPr anchor="ctr"/>
          <a:lstStyle>
            <a:lvl1pPr marL="0" indent="0" algn="l" defTabSz="1039033" rtl="0" eaLnBrk="1" latinLnBrk="0" hangingPunct="1">
              <a:spcBef>
                <a:spcPts val="455"/>
              </a:spcBef>
              <a:buFont typeface="Arial" pitchFamily="34" charset="0"/>
              <a:buNone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6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Arial" pitchFamily="34" charset="0"/>
              <a:buChar char="•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Segoe UI" panose="020B0502040204020203" pitchFamily="34" charset="0"/>
              <a:buChar char="–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72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rabi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6pPr>
            <a:lvl7pPr marL="108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alphaLcPeriod"/>
              <a:defRPr sz="2000" kern="1200" spc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7pPr>
            <a:lvl8pPr marL="1440000" indent="-360000" algn="l" defTabSz="1039033" rtl="0" eaLnBrk="1" latinLnBrk="0" hangingPunct="1">
              <a:spcBef>
                <a:spcPts val="455"/>
              </a:spcBef>
              <a:buClr>
                <a:schemeClr val="bg2"/>
              </a:buClr>
              <a:buFont typeface="+mj-lt"/>
              <a:buAutoNum type="romanLcPeriod"/>
              <a:defRPr sz="2000" kern="1200" spc="0" baseline="0">
                <a:solidFill>
                  <a:schemeClr val="bg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8pPr>
            <a:lvl9pPr marL="4415889" indent="-259758" algn="l" defTabSz="103903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39033" rtl="0" eaLnBrk="1" fontAlgn="auto" latinLnBrk="0" hangingPunct="1">
              <a:lnSpc>
                <a:spcPct val="100000"/>
              </a:lnSpc>
              <a:spcBef>
                <a:spcPts val="45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AU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76003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C155B43-2E62-4C39-91C9-3732A8F94E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gend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10817943" cy="3858642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Premise of and motivation for the current analysi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vailable data and reputability of source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Analytical approach and appropriateness of linear modelling assumption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Results and implications for AFL team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AU" dirty="0"/>
              <a:t>Limitations and recommendations for future analysis</a:t>
            </a:r>
          </a:p>
        </p:txBody>
      </p:sp>
    </p:spTree>
    <p:extLst>
      <p:ext uri="{BB962C8B-B14F-4D97-AF65-F5344CB8AC3E}">
        <p14:creationId xmlns:p14="http://schemas.microsoft.com/office/powerpoint/2010/main" val="105877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Scoring goals is critical to winning AFL games – can linear modelling help to understand what is associated with i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0DD037-ED95-496C-BCCB-30A03060B61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292261" cy="38586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n AFL, teams can score points by either kicking a </a:t>
            </a:r>
            <a:r>
              <a:rPr lang="en-AU" i="1" dirty="0"/>
              <a:t>goal</a:t>
            </a:r>
            <a:r>
              <a:rPr lang="en-AU" dirty="0"/>
              <a:t> (6 points) or a </a:t>
            </a:r>
            <a:r>
              <a:rPr lang="en-AU" i="1" dirty="0"/>
              <a:t>behind</a:t>
            </a:r>
            <a:r>
              <a:rPr lang="en-AU" dirty="0"/>
              <a:t> (1 poi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It is intuitive that kicking more goals </a:t>
            </a:r>
            <a:r>
              <a:rPr lang="en-AU" i="1" dirty="0"/>
              <a:t>should</a:t>
            </a:r>
            <a:r>
              <a:rPr lang="en-AU" dirty="0"/>
              <a:t> lead to a higher likelihood of winning the g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/>
              <a:t>But simply getting a team to kick more goals is not feasible</a:t>
            </a:r>
          </a:p>
          <a:p>
            <a:pPr marL="1062900" lvl="2" indent="-342900"/>
            <a:r>
              <a:rPr lang="en-AU" dirty="0"/>
              <a:t>Can we quantitatively explore what other aspects of gameplay are associated with goal scoring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B77BA1-E9D0-0448-B912-B95A946ED3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6" y="1774061"/>
            <a:ext cx="5557325" cy="435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8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ABC681-D9DE-47C7-99D0-EA26A3F55B2D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ariab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963A97-9FDA-49AE-A84F-7D50DCF8CB4D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A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Sour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0E668BC-F59B-40D9-9CA6-2EB68A0B57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large amount of historical data is available and previous open-source work has linked multiple reputable sources</a:t>
            </a:r>
          </a:p>
        </p:txBody>
      </p:sp>
    </p:spTree>
    <p:extLst>
      <p:ext uri="{BB962C8B-B14F-4D97-AF65-F5344CB8AC3E}">
        <p14:creationId xmlns:p14="http://schemas.microsoft.com/office/powerpoint/2010/main" val="1032320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DB29E5-D548-49F5-B98B-1E8043A71A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robust and detailed linear modelling approach was use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83B57B3-319F-F142-85CE-81E8FE6BE2D3}"/>
              </a:ext>
            </a:extLst>
          </p:cNvPr>
          <p:cNvGrpSpPr/>
          <p:nvPr/>
        </p:nvGrpSpPr>
        <p:grpSpPr>
          <a:xfrm>
            <a:off x="666750" y="1666110"/>
            <a:ext cx="5323982" cy="4074545"/>
            <a:chOff x="6199681" y="1774062"/>
            <a:chExt cx="5323982" cy="407454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F615AC2-05CE-489E-BA41-596539B000FC}"/>
                </a:ext>
              </a:extLst>
            </p:cNvPr>
            <p:cNvSpPr/>
            <p:nvPr/>
          </p:nvSpPr>
          <p:spPr>
            <a:xfrm>
              <a:off x="6199682" y="2184532"/>
              <a:ext cx="5323980" cy="437409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Data extraction from API</a:t>
              </a:r>
            </a:p>
          </p:txBody>
        </p:sp>
        <p:sp>
          <p:nvSpPr>
            <p:cNvPr id="6" name="Content Placeholder 5">
              <a:extLst>
                <a:ext uri="{FF2B5EF4-FFF2-40B4-BE49-F238E27FC236}">
                  <a16:creationId xmlns:a16="http://schemas.microsoft.com/office/drawing/2014/main" id="{8C61B274-F30C-A44A-90EC-761E050262D4}"/>
                </a:ext>
              </a:extLst>
            </p:cNvPr>
            <p:cNvSpPr txBox="1">
              <a:spLocks/>
            </p:cNvSpPr>
            <p:nvPr/>
          </p:nvSpPr>
          <p:spPr>
            <a:xfrm>
              <a:off x="6199681" y="1774062"/>
              <a:ext cx="5323981" cy="291312"/>
            </a:xfrm>
            <a:prstGeom prst="rect">
              <a:avLst/>
            </a:prstGeom>
          </p:spPr>
          <p:txBody>
            <a:bodyPr/>
            <a:lstStyle>
              <a:lvl1pPr marL="0" indent="0" algn="l" defTabSz="1039033" rtl="0" eaLnBrk="1" latinLnBrk="0" hangingPunct="1">
                <a:spcBef>
                  <a:spcPts val="455"/>
                </a:spcBef>
                <a:buFont typeface="Arial" pitchFamily="34" charset="0"/>
                <a:buNone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  <a:lvl2pPr marL="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Arial" pitchFamily="34" charset="0"/>
                <a:buChar char="•"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2pPr>
              <a:lvl3pPr marL="72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Segoe UI" panose="020B0502040204020203" pitchFamily="34" charset="0"/>
                <a:buChar char="–"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3pPr>
              <a:lvl4pPr marL="108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Arial" pitchFamily="34" charset="0"/>
                <a:buChar char="•"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4pPr>
              <a:lvl5pPr marL="144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Segoe UI" panose="020B0502040204020203" pitchFamily="34" charset="0"/>
                <a:buChar char="–"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5pPr>
              <a:lvl6pPr marL="72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+mj-lt"/>
                <a:buAutoNum type="arabicPeriod"/>
                <a:defRPr sz="2000" kern="1200" spc="0" baseline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6pPr>
              <a:lvl7pPr marL="108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+mj-lt"/>
                <a:buAutoNum type="alphaLcPeriod"/>
                <a:defRPr sz="2000" kern="1200" spc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7pPr>
              <a:lvl8pPr marL="1440000" indent="-360000" algn="l" defTabSz="1039033" rtl="0" eaLnBrk="1" latinLnBrk="0" hangingPunct="1">
                <a:spcBef>
                  <a:spcPts val="455"/>
                </a:spcBef>
                <a:buClr>
                  <a:schemeClr val="bg2"/>
                </a:buClr>
                <a:buFont typeface="+mj-lt"/>
                <a:buAutoNum type="romanLcPeriod"/>
                <a:defRPr sz="2000" kern="1200" spc="0" baseline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8pPr>
              <a:lvl9pPr marL="4415889" indent="-259758" algn="l" defTabSz="103903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AU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verall analytical workflow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23E57A-6DBF-5B49-BEB2-EF468A06DFE1}"/>
                </a:ext>
              </a:extLst>
            </p:cNvPr>
            <p:cNvSpPr/>
            <p:nvPr/>
          </p:nvSpPr>
          <p:spPr>
            <a:xfrm>
              <a:off x="6199682" y="2992387"/>
              <a:ext cx="5323980" cy="437408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Data cleaning and aggregation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EB6935-57EF-FB44-9D21-B147E0DCECBF}"/>
                </a:ext>
              </a:extLst>
            </p:cNvPr>
            <p:cNvSpPr/>
            <p:nvPr/>
          </p:nvSpPr>
          <p:spPr>
            <a:xfrm>
              <a:off x="6199682" y="3800241"/>
              <a:ext cx="5323980" cy="43503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Exploratory data analysis and visualisatio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64F7BDC-911D-FE4E-AF5F-B5F0E1CD831B}"/>
                </a:ext>
              </a:extLst>
            </p:cNvPr>
            <p:cNvSpPr/>
            <p:nvPr/>
          </p:nvSpPr>
          <p:spPr>
            <a:xfrm>
              <a:off x="6199681" y="4608095"/>
              <a:ext cx="2427032" cy="435032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Linear model fitting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A0E7FCB-E6C1-044E-A589-80C95413E588}"/>
                </a:ext>
              </a:extLst>
            </p:cNvPr>
            <p:cNvSpPr/>
            <p:nvPr/>
          </p:nvSpPr>
          <p:spPr>
            <a:xfrm>
              <a:off x="9096631" y="4610470"/>
              <a:ext cx="2427032" cy="43265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Assumption check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542D0D-EF30-4847-8178-8E04C773B099}"/>
                </a:ext>
              </a:extLst>
            </p:cNvPr>
            <p:cNvSpPr/>
            <p:nvPr/>
          </p:nvSpPr>
          <p:spPr>
            <a:xfrm>
              <a:off x="6199682" y="5415949"/>
              <a:ext cx="5323980" cy="432658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>
                  <a:solidFill>
                    <a:schemeClr val="bg2"/>
                  </a:solidFill>
                </a:rPr>
                <a:t>Final model outputs and performance analysis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DFDD97-F27F-014E-B453-8666ECBB72BE}"/>
                </a:ext>
              </a:extLst>
            </p:cNvPr>
            <p:cNvCxnSpPr>
              <a:cxnSpLocks/>
              <a:stCxn id="5" idx="2"/>
              <a:endCxn id="7" idx="0"/>
            </p:cNvCxnSpPr>
            <p:nvPr/>
          </p:nvCxnSpPr>
          <p:spPr>
            <a:xfrm>
              <a:off x="8861672" y="2621941"/>
              <a:ext cx="0" cy="370446"/>
            </a:xfrm>
            <a:prstGeom prst="straightConnector1">
              <a:avLst/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A484AA67-07B3-6642-9D7F-697800CA4C9F}"/>
                </a:ext>
              </a:extLst>
            </p:cNvPr>
            <p:cNvCxnSpPr>
              <a:cxnSpLocks/>
              <a:stCxn id="7" idx="2"/>
              <a:endCxn id="8" idx="0"/>
            </p:cNvCxnSpPr>
            <p:nvPr/>
          </p:nvCxnSpPr>
          <p:spPr>
            <a:xfrm>
              <a:off x="8861672" y="3429795"/>
              <a:ext cx="0" cy="370446"/>
            </a:xfrm>
            <a:prstGeom prst="straightConnector1">
              <a:avLst/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CC0B4D5-F5DA-F542-A10A-D0EF0A982F41}"/>
                </a:ext>
              </a:extLst>
            </p:cNvPr>
            <p:cNvCxnSpPr>
              <a:cxnSpLocks/>
            </p:cNvCxnSpPr>
            <p:nvPr/>
          </p:nvCxnSpPr>
          <p:spPr>
            <a:xfrm>
              <a:off x="6224850" y="4235273"/>
              <a:ext cx="0" cy="372821"/>
            </a:xfrm>
            <a:prstGeom prst="straightConnector1">
              <a:avLst/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urved Connector 17">
              <a:extLst>
                <a:ext uri="{FF2B5EF4-FFF2-40B4-BE49-F238E27FC236}">
                  <a16:creationId xmlns:a16="http://schemas.microsoft.com/office/drawing/2014/main" id="{F2869C33-ABFD-8541-8E97-3DEAE371F6CD}"/>
                </a:ext>
              </a:extLst>
            </p:cNvPr>
            <p:cNvCxnSpPr>
              <a:cxnSpLocks/>
              <a:stCxn id="9" idx="2"/>
              <a:endCxn id="10" idx="2"/>
            </p:cNvCxnSpPr>
            <p:nvPr/>
          </p:nvCxnSpPr>
          <p:spPr>
            <a:xfrm rot="16200000" flipH="1">
              <a:off x="8861672" y="3594652"/>
              <a:ext cx="12700" cy="2896950"/>
            </a:xfrm>
            <a:prstGeom prst="curvedConnector3">
              <a:avLst>
                <a:gd name="adj1" fmla="val 1800000"/>
              </a:avLst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urved Connector 19">
              <a:extLst>
                <a:ext uri="{FF2B5EF4-FFF2-40B4-BE49-F238E27FC236}">
                  <a16:creationId xmlns:a16="http://schemas.microsoft.com/office/drawing/2014/main" id="{E8038A1A-FBEA-1042-BDBE-65E689760613}"/>
                </a:ext>
              </a:extLst>
            </p:cNvPr>
            <p:cNvCxnSpPr>
              <a:cxnSpLocks/>
              <a:stCxn id="10" idx="0"/>
              <a:endCxn id="9" idx="0"/>
            </p:cNvCxnSpPr>
            <p:nvPr/>
          </p:nvCxnSpPr>
          <p:spPr>
            <a:xfrm rot="16200000" flipV="1">
              <a:off x="8860485" y="3160808"/>
              <a:ext cx="2375" cy="2896950"/>
            </a:xfrm>
            <a:prstGeom prst="curvedConnector3">
              <a:avLst>
                <a:gd name="adj1" fmla="val 9725263"/>
              </a:avLst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D91A0A48-E99C-8241-A67F-4DD233452C2A}"/>
                </a:ext>
              </a:extLst>
            </p:cNvPr>
            <p:cNvCxnSpPr>
              <a:cxnSpLocks/>
            </p:cNvCxnSpPr>
            <p:nvPr/>
          </p:nvCxnSpPr>
          <p:spPr>
            <a:xfrm>
              <a:off x="11523662" y="5049477"/>
              <a:ext cx="0" cy="366471"/>
            </a:xfrm>
            <a:prstGeom prst="straightConnector1">
              <a:avLst/>
            </a:prstGeom>
            <a:ln w="25400">
              <a:solidFill>
                <a:schemeClr val="bg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B97C6F4-252D-224F-BDEB-870FEF698A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8" y="1774839"/>
            <a:ext cx="5361814" cy="4214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1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877352"/>
            <a:ext cx="5361816" cy="42019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847" y="1877352"/>
            <a:ext cx="5361815" cy="4201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012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EB64B89-7E51-46CA-8931-E69DE43B78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Core linear modelling assumptions were rigorously tes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948A1-465B-9947-9861-17E3655A9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750" y="1877352"/>
            <a:ext cx="5361816" cy="42019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189228-89AB-AE43-8A5E-8F3802DC7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877352"/>
            <a:ext cx="5361816" cy="42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46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1E6085-69E4-4679-A59D-5507492823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selection of core gameplay metrics were able to predict the number of goals scored by individual teams in ga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CE3313-FE70-42F2-A04A-6524CBAE33F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66750" y="1774062"/>
            <a:ext cx="5339767" cy="3858642"/>
          </a:xfrm>
        </p:spPr>
        <p:txBody>
          <a:bodyPr/>
          <a:lstStyle/>
          <a:p>
            <a:endParaRPr lang="en-A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6DFE5E-AAEC-B049-BBF2-382D689D3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1847" y="1774062"/>
            <a:ext cx="5361816" cy="434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98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DD1B99-2A5C-47E9-9C4B-E8C8C3AEFE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/>
              <a:t>A number of limitations and potential methods to address them have been identif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ED671-8045-4E49-9F75-60D20D51E36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Not all variables in the available datasets were explored</a:t>
            </a:r>
          </a:p>
          <a:p>
            <a:pPr marL="1062900" lvl="2" indent="-342900"/>
            <a:r>
              <a:rPr lang="en-AU" dirty="0"/>
              <a:t>The datasets contained a very large number of variables, a shortlist of which were used for this analysis due to prior hypotheses</a:t>
            </a:r>
          </a:p>
          <a:p>
            <a:pPr marL="1062900" lvl="2" indent="-342900"/>
            <a:r>
              <a:rPr lang="en-AU" dirty="0"/>
              <a:t>Future research should examine all variables, potentially using Lasso Regre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Small deviations in residuals were noted, </a:t>
            </a:r>
            <a:r>
              <a:rPr lang="en-AU" b="1"/>
              <a:t>but addition </a:t>
            </a:r>
            <a:r>
              <a:rPr lang="en-AU" b="1" dirty="0"/>
              <a:t>of quadratic terms did not fix it</a:t>
            </a:r>
          </a:p>
          <a:p>
            <a:pPr marL="1062900" lvl="2" indent="-342900"/>
            <a:r>
              <a:rPr lang="en-AU" dirty="0"/>
              <a:t>A minor </a:t>
            </a:r>
            <a:r>
              <a:rPr lang="en-AU" i="1" dirty="0"/>
              <a:t>sag</a:t>
            </a:r>
            <a:r>
              <a:rPr lang="en-AU" dirty="0"/>
              <a:t> was noted in the residuals plot, suggesting use of a quadratic 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It remains unclear whether an ordinary least squares regression approach is optimal</a:t>
            </a:r>
          </a:p>
          <a:p>
            <a:pPr marL="1062900" lvl="2" indent="-342900"/>
            <a:r>
              <a:rPr lang="en-AU" dirty="0"/>
              <a:t>A GAM follow-up analysis yielded superior model fit at a negligible cost to A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b="1" dirty="0"/>
              <a:t>There may be differential relationships for each team or for home and away teams</a:t>
            </a:r>
          </a:p>
          <a:p>
            <a:pPr marL="1062900" lvl="2" indent="-342900"/>
            <a:r>
              <a:rPr lang="en-AU" dirty="0"/>
              <a:t>Exploring these interactions may reveal unique team-level gameplay differences or a quantification of the “home team advantage”</a:t>
            </a:r>
          </a:p>
        </p:txBody>
      </p:sp>
    </p:spTree>
    <p:extLst>
      <p:ext uri="{BB962C8B-B14F-4D97-AF65-F5344CB8AC3E}">
        <p14:creationId xmlns:p14="http://schemas.microsoft.com/office/powerpoint/2010/main" val="684902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- Core">
  <a:themeElements>
    <a:clrScheme name="New Brand">
      <a:dk1>
        <a:sysClr val="windowText" lastClr="000000"/>
      </a:dk1>
      <a:lt1>
        <a:sysClr val="window" lastClr="FFFFFF"/>
      </a:lt1>
      <a:dk2>
        <a:srgbClr val="2E368F"/>
      </a:dk2>
      <a:lt2>
        <a:srgbClr val="00264D"/>
      </a:lt2>
      <a:accent1>
        <a:srgbClr val="FF3A40"/>
      </a:accent1>
      <a:accent2>
        <a:srgbClr val="F25E21"/>
      </a:accent2>
      <a:accent3>
        <a:srgbClr val="F8981D"/>
      </a:accent3>
      <a:accent4>
        <a:srgbClr val="FED13B"/>
      </a:accent4>
      <a:accent5>
        <a:srgbClr val="E6E6E1"/>
      </a:accent5>
      <a:accent6>
        <a:srgbClr val="25B3E0"/>
      </a:accent6>
      <a:hlink>
        <a:srgbClr val="0048C7"/>
      </a:hlink>
      <a:folHlink>
        <a:srgbClr val="0048C7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chemeClr val="accent3"/>
          </a:solidFill>
        </a:ln>
      </a:spPr>
      <a:bodyPr rtlCol="0" anchor="ctr"/>
      <a:lstStyle>
        <a:defPPr algn="ctr">
          <a:defRPr sz="1600" dirty="0" err="1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- Formal" id="{4F6B461B-C163-4D25-84E2-7459E45B3C51}" vid="{5EA4CD0B-CCD9-4CA4-B14A-AD78DA1D8B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7C070C1F848145BDC0FA0130DF4442" ma:contentTypeVersion="10" ma:contentTypeDescription="Create a new document." ma:contentTypeScope="" ma:versionID="cf901ca0c944e1d553d154af5f2c1c4f">
  <xsd:schema xmlns:xsd="http://www.w3.org/2001/XMLSchema" xmlns:xs="http://www.w3.org/2001/XMLSchema" xmlns:p="http://schemas.microsoft.com/office/2006/metadata/properties" xmlns:ns2="fc6ab167-db70-4379-8869-a8cc7a1fa5d6" xmlns:ns3="6cd22d0c-df22-4c4f-a401-cad966b5c9be" targetNamespace="http://schemas.microsoft.com/office/2006/metadata/properties" ma:root="true" ma:fieldsID="2c812f074d84dadff0e6ee094f34ab95" ns2:_="" ns3:_="">
    <xsd:import namespace="fc6ab167-db70-4379-8869-a8cc7a1fa5d6"/>
    <xsd:import namespace="6cd22d0c-df22-4c4f-a401-cad966b5c9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ab167-db70-4379-8869-a8cc7a1fa5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22d0c-df22-4c4f-a401-cad966b5c9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1C9025-37E4-4B60-BB55-82E97C9CA6D5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cd22d0c-df22-4c4f-a401-cad966b5c9be"/>
    <ds:schemaRef ds:uri="fc6ab167-db70-4379-8869-a8cc7a1fa5d6"/>
  </ds:schemaRefs>
</ds:datastoreItem>
</file>

<file path=customXml/itemProps2.xml><?xml version="1.0" encoding="utf-8"?>
<ds:datastoreItem xmlns:ds="http://schemas.openxmlformats.org/officeDocument/2006/customXml" ds:itemID="{0173B242-1203-4859-8453-A7C017C494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56EAAE-7A75-48FD-978C-BC36C63F33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6ab167-db70-4379-8869-a8cc7a1fa5d6"/>
    <ds:schemaRef ds:uri="6cd22d0c-df22-4c4f-a401-cad966b5c9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- Formal</Template>
  <TotalTime>10136</TotalTime>
  <Words>380</Words>
  <Application>Microsoft Macintosh PowerPoint</Application>
  <PresentationFormat>Custom</PresentationFormat>
  <Paragraphs>40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Segoe UI</vt:lpstr>
      <vt:lpstr>Segoe UI Light</vt:lpstr>
      <vt:lpstr>Segoe UI Semibold</vt:lpstr>
      <vt:lpstr>Segoe UI Semilight</vt:lpstr>
      <vt:lpstr>Presentation -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Freeman</dc:creator>
  <cp:lastModifiedBy>Trent Henderson</cp:lastModifiedBy>
  <cp:revision>28</cp:revision>
  <cp:lastPrinted>2017-07-25T00:34:06Z</cp:lastPrinted>
  <dcterms:created xsi:type="dcterms:W3CDTF">2020-09-30T04:51:57Z</dcterms:created>
  <dcterms:modified xsi:type="dcterms:W3CDTF">2021-04-28T01:2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7C070C1F848145BDC0FA0130DF4442</vt:lpwstr>
  </property>
</Properties>
</file>